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tl="1" saveSubsetFonts="1">
  <p:sldMasterIdLst>
    <p:sldMasterId id="2147483648" r:id="rId1"/>
  </p:sldMasterIdLst>
  <p:notesMasterIdLst>
    <p:notesMasterId r:id="rId18"/>
  </p:notesMasterIdLst>
  <p:sldIdLst>
    <p:sldId id="256" r:id="rId2"/>
    <p:sldId id="257" r:id="rId3"/>
    <p:sldId id="282" r:id="rId4"/>
    <p:sldId id="277" r:id="rId5"/>
    <p:sldId id="266" r:id="rId6"/>
    <p:sldId id="267" r:id="rId7"/>
    <p:sldId id="268" r:id="rId8"/>
    <p:sldId id="269" r:id="rId9"/>
    <p:sldId id="270" r:id="rId10"/>
    <p:sldId id="271" r:id="rId11"/>
    <p:sldId id="272" r:id="rId12"/>
    <p:sldId id="278" r:id="rId13"/>
    <p:sldId id="280" r:id="rId14"/>
    <p:sldId id="279" r:id="rId15"/>
    <p:sldId id="281" r:id="rId16"/>
    <p:sldId id="283" r:id="rId17"/>
  </p:sldIdLst>
  <p:sldSz cx="9144000" cy="6858000" type="screen4x3"/>
  <p:notesSz cx="6858000" cy="9144000"/>
  <p:defaultTextStyle>
    <a:defPPr>
      <a:defRPr lang="fa-IR"/>
    </a:defPPr>
    <a:lvl1pPr marL="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4380"/>
    <p:restoredTop sz="94660"/>
  </p:normalViewPr>
  <p:slideViewPr>
    <p:cSldViewPr>
      <p:cViewPr varScale="1">
        <p:scale>
          <a:sx n="72" d="100"/>
          <a:sy n="72" d="100"/>
        </p:scale>
        <p:origin x="-1104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>
              <a:defRPr sz="1200"/>
            </a:lvl1pPr>
          </a:lstStyle>
          <a:p>
            <a:endParaRPr lang="fa-I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588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l">
              <a:defRPr sz="1200"/>
            </a:lvl1pPr>
          </a:lstStyle>
          <a:p>
            <a:fld id="{D5FA6143-E048-4C47-B73E-9FD2B57289A0}" type="datetimeFigureOut">
              <a:rPr lang="fa-IR" smtClean="0"/>
              <a:t>04/21/1438</a:t>
            </a:fld>
            <a:endParaRPr lang="fa-I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1" anchor="ctr"/>
          <a:lstStyle/>
          <a:p>
            <a:endParaRPr lang="fa-I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1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a-I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8862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>
              <a:defRPr sz="1200"/>
            </a:lvl1pPr>
          </a:lstStyle>
          <a:p>
            <a:endParaRPr lang="fa-I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588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l">
              <a:defRPr sz="1200"/>
            </a:lvl1pPr>
          </a:lstStyle>
          <a:p>
            <a:fld id="{0D9D3215-4AA4-4E13-A485-2342A7A9FCA5}" type="slidenum">
              <a:rPr lang="fa-IR" smtClean="0"/>
              <a:t>‹#›</a:t>
            </a:fld>
            <a:endParaRPr lang="fa-IR"/>
          </a:p>
        </p:txBody>
      </p:sp>
    </p:spTree>
    <p:extLst>
      <p:ext uri="{BB962C8B-B14F-4D97-AF65-F5344CB8AC3E}">
        <p14:creationId xmlns:p14="http://schemas.microsoft.com/office/powerpoint/2010/main" val="39922573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a-I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fa-I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623F2-C0C8-483C-8B9D-7E4662F9BA72}" type="datetimeFigureOut">
              <a:rPr lang="fa-IR" smtClean="0"/>
              <a:t>04/21/1438</a:t>
            </a:fld>
            <a:endParaRPr lang="fa-I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a-I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DCE5DE-D66F-4845-B397-22ACC49778FA}" type="slidenum">
              <a:rPr lang="fa-IR" smtClean="0"/>
              <a:t>‹#›</a:t>
            </a:fld>
            <a:endParaRPr lang="fa-IR"/>
          </a:p>
        </p:txBody>
      </p:sp>
    </p:spTree>
    <p:extLst>
      <p:ext uri="{BB962C8B-B14F-4D97-AF65-F5344CB8AC3E}">
        <p14:creationId xmlns:p14="http://schemas.microsoft.com/office/powerpoint/2010/main" val="25754274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a-I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a-I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623F2-C0C8-483C-8B9D-7E4662F9BA72}" type="datetimeFigureOut">
              <a:rPr lang="fa-IR" smtClean="0"/>
              <a:t>04/21/1438</a:t>
            </a:fld>
            <a:endParaRPr lang="fa-I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a-I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DCE5DE-D66F-4845-B397-22ACC49778FA}" type="slidenum">
              <a:rPr lang="fa-IR" smtClean="0"/>
              <a:t>‹#›</a:t>
            </a:fld>
            <a:endParaRPr lang="fa-IR"/>
          </a:p>
        </p:txBody>
      </p:sp>
    </p:spTree>
    <p:extLst>
      <p:ext uri="{BB962C8B-B14F-4D97-AF65-F5344CB8AC3E}">
        <p14:creationId xmlns:p14="http://schemas.microsoft.com/office/powerpoint/2010/main" val="29854303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a-I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a-I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623F2-C0C8-483C-8B9D-7E4662F9BA72}" type="datetimeFigureOut">
              <a:rPr lang="fa-IR" smtClean="0"/>
              <a:t>04/21/1438</a:t>
            </a:fld>
            <a:endParaRPr lang="fa-I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a-I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DCE5DE-D66F-4845-B397-22ACC49778FA}" type="slidenum">
              <a:rPr lang="fa-IR" smtClean="0"/>
              <a:t>‹#›</a:t>
            </a:fld>
            <a:endParaRPr lang="fa-IR"/>
          </a:p>
        </p:txBody>
      </p:sp>
    </p:spTree>
    <p:extLst>
      <p:ext uri="{BB962C8B-B14F-4D97-AF65-F5344CB8AC3E}">
        <p14:creationId xmlns:p14="http://schemas.microsoft.com/office/powerpoint/2010/main" val="4286060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a-I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a-I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623F2-C0C8-483C-8B9D-7E4662F9BA72}" type="datetimeFigureOut">
              <a:rPr lang="fa-IR" smtClean="0"/>
              <a:t>04/21/1438</a:t>
            </a:fld>
            <a:endParaRPr lang="fa-I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a-I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DCE5DE-D66F-4845-B397-22ACC49778FA}" type="slidenum">
              <a:rPr lang="fa-IR" smtClean="0"/>
              <a:t>‹#›</a:t>
            </a:fld>
            <a:endParaRPr lang="fa-IR"/>
          </a:p>
        </p:txBody>
      </p:sp>
    </p:spTree>
    <p:extLst>
      <p:ext uri="{BB962C8B-B14F-4D97-AF65-F5344CB8AC3E}">
        <p14:creationId xmlns:p14="http://schemas.microsoft.com/office/powerpoint/2010/main" val="14045296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r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fa-I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623F2-C0C8-483C-8B9D-7E4662F9BA72}" type="datetimeFigureOut">
              <a:rPr lang="fa-IR" smtClean="0"/>
              <a:t>04/21/1438</a:t>
            </a:fld>
            <a:endParaRPr lang="fa-I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a-I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DCE5DE-D66F-4845-B397-22ACC49778FA}" type="slidenum">
              <a:rPr lang="fa-IR" smtClean="0"/>
              <a:t>‹#›</a:t>
            </a:fld>
            <a:endParaRPr lang="fa-IR"/>
          </a:p>
        </p:txBody>
      </p:sp>
    </p:spTree>
    <p:extLst>
      <p:ext uri="{BB962C8B-B14F-4D97-AF65-F5344CB8AC3E}">
        <p14:creationId xmlns:p14="http://schemas.microsoft.com/office/powerpoint/2010/main" val="920791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a-I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a-I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a-I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623F2-C0C8-483C-8B9D-7E4662F9BA72}" type="datetimeFigureOut">
              <a:rPr lang="fa-IR" smtClean="0"/>
              <a:t>04/21/1438</a:t>
            </a:fld>
            <a:endParaRPr lang="fa-I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a-I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DCE5DE-D66F-4845-B397-22ACC49778FA}" type="slidenum">
              <a:rPr lang="fa-IR" smtClean="0"/>
              <a:t>‹#›</a:t>
            </a:fld>
            <a:endParaRPr lang="fa-IR"/>
          </a:p>
        </p:txBody>
      </p:sp>
    </p:spTree>
    <p:extLst>
      <p:ext uri="{BB962C8B-B14F-4D97-AF65-F5344CB8AC3E}">
        <p14:creationId xmlns:p14="http://schemas.microsoft.com/office/powerpoint/2010/main" val="2223670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fa-I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a-I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a-I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623F2-C0C8-483C-8B9D-7E4662F9BA72}" type="datetimeFigureOut">
              <a:rPr lang="fa-IR" smtClean="0"/>
              <a:t>04/21/1438</a:t>
            </a:fld>
            <a:endParaRPr lang="fa-I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a-I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DCE5DE-D66F-4845-B397-22ACC49778FA}" type="slidenum">
              <a:rPr lang="fa-IR" smtClean="0"/>
              <a:t>‹#›</a:t>
            </a:fld>
            <a:endParaRPr lang="fa-IR"/>
          </a:p>
        </p:txBody>
      </p:sp>
    </p:spTree>
    <p:extLst>
      <p:ext uri="{BB962C8B-B14F-4D97-AF65-F5344CB8AC3E}">
        <p14:creationId xmlns:p14="http://schemas.microsoft.com/office/powerpoint/2010/main" val="1864747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a-I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623F2-C0C8-483C-8B9D-7E4662F9BA72}" type="datetimeFigureOut">
              <a:rPr lang="fa-IR" smtClean="0"/>
              <a:t>04/21/1438</a:t>
            </a:fld>
            <a:endParaRPr lang="fa-I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a-I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DCE5DE-D66F-4845-B397-22ACC49778FA}" type="slidenum">
              <a:rPr lang="fa-IR" smtClean="0"/>
              <a:t>‹#›</a:t>
            </a:fld>
            <a:endParaRPr lang="fa-IR"/>
          </a:p>
        </p:txBody>
      </p:sp>
    </p:spTree>
    <p:extLst>
      <p:ext uri="{BB962C8B-B14F-4D97-AF65-F5344CB8AC3E}">
        <p14:creationId xmlns:p14="http://schemas.microsoft.com/office/powerpoint/2010/main" val="10403702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623F2-C0C8-483C-8B9D-7E4662F9BA72}" type="datetimeFigureOut">
              <a:rPr lang="fa-IR" smtClean="0"/>
              <a:t>04/21/1438</a:t>
            </a:fld>
            <a:endParaRPr lang="fa-I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a-I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DCE5DE-D66F-4845-B397-22ACC49778FA}" type="slidenum">
              <a:rPr lang="fa-IR" smtClean="0"/>
              <a:t>‹#›</a:t>
            </a:fld>
            <a:endParaRPr lang="fa-IR"/>
          </a:p>
        </p:txBody>
      </p:sp>
    </p:spTree>
    <p:extLst>
      <p:ext uri="{BB962C8B-B14F-4D97-AF65-F5344CB8AC3E}">
        <p14:creationId xmlns:p14="http://schemas.microsoft.com/office/powerpoint/2010/main" val="9839470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fa-I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a-I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623F2-C0C8-483C-8B9D-7E4662F9BA72}" type="datetimeFigureOut">
              <a:rPr lang="fa-IR" smtClean="0"/>
              <a:t>04/21/1438</a:t>
            </a:fld>
            <a:endParaRPr lang="fa-I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a-I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DCE5DE-D66F-4845-B397-22ACC49778FA}" type="slidenum">
              <a:rPr lang="fa-IR" smtClean="0"/>
              <a:t>‹#›</a:t>
            </a:fld>
            <a:endParaRPr lang="fa-IR"/>
          </a:p>
        </p:txBody>
      </p:sp>
    </p:spTree>
    <p:extLst>
      <p:ext uri="{BB962C8B-B14F-4D97-AF65-F5344CB8AC3E}">
        <p14:creationId xmlns:p14="http://schemas.microsoft.com/office/powerpoint/2010/main" val="10151919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fa-I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a-I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623F2-C0C8-483C-8B9D-7E4662F9BA72}" type="datetimeFigureOut">
              <a:rPr lang="fa-IR" smtClean="0"/>
              <a:t>04/21/1438</a:t>
            </a:fld>
            <a:endParaRPr lang="fa-I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a-I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DCE5DE-D66F-4845-B397-22ACC49778FA}" type="slidenum">
              <a:rPr lang="fa-IR" smtClean="0"/>
              <a:t>‹#›</a:t>
            </a:fld>
            <a:endParaRPr lang="fa-IR"/>
          </a:p>
        </p:txBody>
      </p:sp>
    </p:spTree>
    <p:extLst>
      <p:ext uri="{BB962C8B-B14F-4D97-AF65-F5344CB8AC3E}">
        <p14:creationId xmlns:p14="http://schemas.microsoft.com/office/powerpoint/2010/main" val="32481229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fa-I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a-I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623F2-C0C8-483C-8B9D-7E4662F9BA72}" type="datetimeFigureOut">
              <a:rPr lang="fa-IR" smtClean="0"/>
              <a:t>04/21/1438</a:t>
            </a:fld>
            <a:endParaRPr lang="fa-I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a-I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DCE5DE-D66F-4845-B397-22ACC49778FA}" type="slidenum">
              <a:rPr lang="fa-IR" smtClean="0"/>
              <a:t>‹#›</a:t>
            </a:fld>
            <a:endParaRPr lang="fa-IR"/>
          </a:p>
        </p:txBody>
      </p:sp>
    </p:spTree>
    <p:extLst>
      <p:ext uri="{BB962C8B-B14F-4D97-AF65-F5344CB8AC3E}">
        <p14:creationId xmlns:p14="http://schemas.microsoft.com/office/powerpoint/2010/main" val="1810793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1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r" defTabSz="914400" rtl="1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r" defTabSz="914400" rtl="1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a-IR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0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microsoft.com/office/2007/relationships/hdphoto" Target="../media/hdphoto11.wdp"/><Relationship Id="rId7" Type="http://schemas.microsoft.com/office/2007/relationships/hdphoto" Target="../media/hdphoto13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png"/><Relationship Id="rId5" Type="http://schemas.microsoft.com/office/2007/relationships/hdphoto" Target="../media/hdphoto12.wdp"/><Relationship Id="rId4" Type="http://schemas.openxmlformats.org/officeDocument/2006/relationships/image" Target="../media/image18.png"/><Relationship Id="rId9" Type="http://schemas.microsoft.com/office/2007/relationships/hdphoto" Target="../media/hdphoto14.wdp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microsoft.com/office/2007/relationships/hdphoto" Target="../media/hdphoto15.wdp"/><Relationship Id="rId7" Type="http://schemas.microsoft.com/office/2007/relationships/hdphoto" Target="../media/hdphoto17.wdp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3.png"/><Relationship Id="rId5" Type="http://schemas.microsoft.com/office/2007/relationships/hdphoto" Target="../media/hdphoto16.wdp"/><Relationship Id="rId4" Type="http://schemas.openxmlformats.org/officeDocument/2006/relationships/image" Target="../media/image22.png"/><Relationship Id="rId9" Type="http://schemas.microsoft.com/office/2007/relationships/hdphoto" Target="../media/hdphoto18.wdp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10.wdp"/><Relationship Id="rId7" Type="http://schemas.microsoft.com/office/2007/relationships/hdphoto" Target="../media/hdphoto20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6.png"/><Relationship Id="rId5" Type="http://schemas.microsoft.com/office/2007/relationships/hdphoto" Target="../media/hdphoto19.wdp"/><Relationship Id="rId4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07/relationships/hdphoto" Target="../media/hdphoto4.wdp"/><Relationship Id="rId7" Type="http://schemas.microsoft.com/office/2007/relationships/hdphoto" Target="../media/hdphoto6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png"/><Relationship Id="rId5" Type="http://schemas.microsoft.com/office/2007/relationships/hdphoto" Target="../media/hdphoto5.wdp"/><Relationship Id="rId4" Type="http://schemas.openxmlformats.org/officeDocument/2006/relationships/image" Target="../media/image9.png"/><Relationship Id="rId9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7" Type="http://schemas.microsoft.com/office/2007/relationships/hdphoto" Target="../media/hdphoto9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5.png"/><Relationship Id="rId5" Type="http://schemas.microsoft.com/office/2007/relationships/hdphoto" Target="../media/hdphoto8.wdp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28" y="1772816"/>
            <a:ext cx="8712968" cy="1730623"/>
          </a:xfrm>
        </p:spPr>
        <p:txBody>
          <a:bodyPr>
            <a:noAutofit/>
          </a:bodyPr>
          <a:lstStyle/>
          <a:p>
            <a:pPr rtl="0"/>
            <a:r>
              <a:rPr lang="en-US" sz="3900" b="1" dirty="0"/>
              <a:t>An </a:t>
            </a:r>
            <a:r>
              <a:rPr lang="en-US" sz="3900" b="1" dirty="0" smtClean="0"/>
              <a:t>alternative </a:t>
            </a:r>
            <a:r>
              <a:rPr lang="en-US" sz="3900" b="1" dirty="0"/>
              <a:t>cellular avalanche model based on maximum release of energy during solar flares</a:t>
            </a:r>
            <a:endParaRPr lang="fa-IR" sz="39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005064"/>
            <a:ext cx="6660654" cy="2304256"/>
          </a:xfrm>
        </p:spPr>
        <p:txBody>
          <a:bodyPr>
            <a:normAutofit fontScale="92500" lnSpcReduction="10000"/>
          </a:bodyPr>
          <a:lstStyle/>
          <a:p>
            <a:pPr rtl="0">
              <a:lnSpc>
                <a:spcPct val="150000"/>
              </a:lnSpc>
            </a:pPr>
            <a:r>
              <a:rPr lang="en-US" sz="3000" b="1" dirty="0" err="1" smtClean="0">
                <a:solidFill>
                  <a:schemeClr val="tx1"/>
                </a:solidFill>
              </a:rPr>
              <a:t>Nastaran</a:t>
            </a:r>
            <a:r>
              <a:rPr lang="en-US" sz="3000" b="1" dirty="0" smtClean="0">
                <a:solidFill>
                  <a:schemeClr val="tx1"/>
                </a:solidFill>
              </a:rPr>
              <a:t> </a:t>
            </a:r>
            <a:r>
              <a:rPr lang="en-US" sz="3000" b="1" dirty="0" err="1" smtClean="0">
                <a:solidFill>
                  <a:schemeClr val="tx1"/>
                </a:solidFill>
              </a:rPr>
              <a:t>Farhang</a:t>
            </a:r>
            <a:endParaRPr lang="en-US" sz="3000" b="1" dirty="0" smtClean="0">
              <a:solidFill>
                <a:schemeClr val="tx1"/>
              </a:solidFill>
            </a:endParaRPr>
          </a:p>
          <a:p>
            <a:pPr rtl="0">
              <a:lnSpc>
                <a:spcPct val="150000"/>
              </a:lnSpc>
            </a:pPr>
            <a:r>
              <a:rPr lang="en-US" sz="1800" i="1" dirty="0" err="1" smtClean="0">
                <a:solidFill>
                  <a:schemeClr val="tx1"/>
                </a:solidFill>
              </a:rPr>
              <a:t>Hossein</a:t>
            </a:r>
            <a:r>
              <a:rPr lang="en-US" sz="1800" i="1" dirty="0" smtClean="0">
                <a:solidFill>
                  <a:schemeClr val="tx1"/>
                </a:solidFill>
              </a:rPr>
              <a:t> Safari &amp; Michael S. </a:t>
            </a:r>
            <a:r>
              <a:rPr lang="en-US" sz="1800" i="1" dirty="0" err="1" smtClean="0">
                <a:solidFill>
                  <a:schemeClr val="tx1"/>
                </a:solidFill>
              </a:rPr>
              <a:t>Weatland</a:t>
            </a:r>
            <a:endParaRPr lang="en-US" sz="1800" i="1" dirty="0" smtClean="0">
              <a:solidFill>
                <a:schemeClr val="tx1"/>
              </a:solidFill>
            </a:endParaRPr>
          </a:p>
          <a:p>
            <a:pPr rtl="0">
              <a:lnSpc>
                <a:spcPct val="150000"/>
              </a:lnSpc>
            </a:pPr>
            <a:r>
              <a:rPr lang="en-US" sz="1800" i="1" dirty="0" smtClean="0">
                <a:solidFill>
                  <a:schemeClr val="tx1"/>
                </a:solidFill>
              </a:rPr>
              <a:t>University of </a:t>
            </a:r>
            <a:r>
              <a:rPr lang="en-US" sz="1800" i="1" dirty="0" err="1" smtClean="0">
                <a:solidFill>
                  <a:schemeClr val="tx1"/>
                </a:solidFill>
              </a:rPr>
              <a:t>Zanjan</a:t>
            </a:r>
            <a:endParaRPr lang="en-US" sz="1800" i="1" dirty="0" smtClean="0">
              <a:solidFill>
                <a:schemeClr val="tx1"/>
              </a:solidFill>
            </a:endParaRPr>
          </a:p>
          <a:p>
            <a:pPr rtl="0">
              <a:lnSpc>
                <a:spcPct val="150000"/>
              </a:lnSpc>
            </a:pPr>
            <a:r>
              <a:rPr lang="en-US" sz="1800" i="1" dirty="0" smtClean="0">
                <a:solidFill>
                  <a:schemeClr val="tx1"/>
                </a:solidFill>
              </a:rPr>
              <a:t>January 2017</a:t>
            </a:r>
            <a:r>
              <a:rPr lang="en-US" i="1" dirty="0" smtClean="0">
                <a:solidFill>
                  <a:schemeClr val="tx1"/>
                </a:solidFill>
              </a:rPr>
              <a:t> </a:t>
            </a:r>
            <a:endParaRPr lang="fa-IR" i="1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-14513" y="4795467"/>
            <a:ext cx="9171432" cy="2062535"/>
          </a:xfrm>
          <a:prstGeom prst="rect">
            <a:avLst/>
          </a:prstGeom>
          <a:gradFill>
            <a:gsLst>
              <a:gs pos="0">
                <a:srgbClr val="00B0F0">
                  <a:alpha val="65000"/>
                </a:srgbClr>
              </a:gs>
              <a:gs pos="50000">
                <a:srgbClr val="00AAE6">
                  <a:alpha val="31000"/>
                </a:srgbClr>
              </a:gs>
              <a:gs pos="100000">
                <a:srgbClr val="00B0F0">
                  <a:alpha val="0"/>
                </a:srgbClr>
              </a:gs>
            </a:gsLst>
            <a:lin ang="162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050" name="Picture 2" descr="C:\Users\user\Documents\logo_solarnet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1771" y="210344"/>
            <a:ext cx="2434725" cy="105841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16633"/>
            <a:ext cx="1190026" cy="1296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139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/>
        </p:nvGrpSpPr>
        <p:grpSpPr>
          <a:xfrm>
            <a:off x="3467096" y="1312307"/>
            <a:ext cx="2552704" cy="4708981"/>
            <a:chOff x="5753096" y="930948"/>
            <a:chExt cx="2552704" cy="4708981"/>
          </a:xfrm>
        </p:grpSpPr>
        <p:sp>
          <p:nvSpPr>
            <p:cNvPr id="23" name="Oval 22"/>
            <p:cNvSpPr/>
            <p:nvPr/>
          </p:nvSpPr>
          <p:spPr>
            <a:xfrm>
              <a:off x="6041626" y="4191000"/>
              <a:ext cx="1730774" cy="457200"/>
            </a:xfrm>
            <a:prstGeom prst="ellipse">
              <a:avLst/>
            </a:prstGeom>
            <a:gradFill flip="none" rotWithShape="1">
              <a:gsLst>
                <a:gs pos="0">
                  <a:schemeClr val="tx1"/>
                </a:gs>
                <a:gs pos="100000">
                  <a:schemeClr val="bg1">
                    <a:alpha val="0"/>
                    <a:lumMod val="0"/>
                    <a:lumOff val="10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5753096" y="930948"/>
              <a:ext cx="2552704" cy="4708981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perspectiveLeft" fov="4200000">
                  <a:rot lat="0" lon="21599996" rev="0"/>
                </a:camera>
                <a:lightRig rig="threePt" dir="t"/>
              </a:scene3d>
              <a:sp3d extrusionH="508000" prstMaterial="metal">
                <a:bevelT w="190500" h="190500"/>
              </a:sp3d>
            </a:bodyPr>
            <a:lstStyle/>
            <a:p>
              <a:pPr algn="ctr"/>
              <a:r>
                <a:rPr lang="en-US" sz="30000" dirty="0" smtClean="0">
                  <a:solidFill>
                    <a:srgbClr val="C00000"/>
                  </a:solidFill>
                  <a:latin typeface="Arial Black" pitchFamily="34" charset="0"/>
                  <a:cs typeface="Arial" pitchFamily="34" charset="0"/>
                </a:rPr>
                <a:t>?</a:t>
              </a:r>
              <a:endParaRPr lang="en-US" sz="30000" dirty="0">
                <a:solidFill>
                  <a:srgbClr val="C00000"/>
                </a:solidFill>
                <a:latin typeface="Arial Black" pitchFamily="34" charset="0"/>
                <a:cs typeface="Arial" pitchFamily="34" charset="0"/>
              </a:endParaRPr>
            </a:p>
          </p:txBody>
        </p:sp>
      </p:grpSp>
      <p:sp>
        <p:nvSpPr>
          <p:cNvPr id="14" name="Rectangle 13"/>
          <p:cNvSpPr/>
          <p:nvPr/>
        </p:nvSpPr>
        <p:spPr>
          <a:xfrm>
            <a:off x="-14513" y="4797152"/>
            <a:ext cx="9171432" cy="2062535"/>
          </a:xfrm>
          <a:prstGeom prst="rect">
            <a:avLst/>
          </a:prstGeom>
          <a:gradFill>
            <a:gsLst>
              <a:gs pos="0">
                <a:srgbClr val="00B0F0">
                  <a:alpha val="65000"/>
                </a:srgbClr>
              </a:gs>
              <a:gs pos="50000">
                <a:srgbClr val="00AAE6">
                  <a:alpha val="31000"/>
                </a:srgbClr>
              </a:gs>
              <a:gs pos="100000">
                <a:srgbClr val="00B0F0">
                  <a:alpha val="0"/>
                </a:srgbClr>
              </a:gs>
            </a:gsLst>
            <a:lin ang="162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itle 3"/>
          <p:cNvSpPr txBox="1">
            <a:spLocks/>
          </p:cNvSpPr>
          <p:nvPr/>
        </p:nvSpPr>
        <p:spPr>
          <a:xfrm>
            <a:off x="36512" y="-13394"/>
            <a:ext cx="9144000" cy="922114"/>
          </a:xfrm>
          <a:prstGeom prst="rect">
            <a:avLst/>
          </a:prstGeom>
        </p:spPr>
        <p:txBody>
          <a:bodyPr vert="horz" lIns="91440" tIns="45720" rIns="91440" bIns="45720" numCol="2" rtlCol="0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>
                    <a:lumMod val="65000"/>
                  </a:schemeClr>
                </a:solidFill>
              </a:rPr>
              <a:t>Solar </a:t>
            </a: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Flares </a:t>
            </a:r>
          </a:p>
          <a:p>
            <a:pPr marL="285750" indent="-285750" algn="l" rtl="0">
              <a:buFont typeface="Wingdings" pitchFamily="2" charset="2"/>
              <a:buChar char="Ø"/>
            </a:pPr>
            <a:r>
              <a:rPr lang="en-US" sz="1400" dirty="0"/>
              <a:t>Cellular Automaton Avalanche Models</a:t>
            </a:r>
          </a:p>
          <a:p>
            <a:pPr marL="285750" indent="-28575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>
                    <a:lumMod val="65000"/>
                  </a:schemeClr>
                </a:solidFill>
              </a:rPr>
              <a:t>The </a:t>
            </a: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Optimized Model</a:t>
            </a:r>
          </a:p>
          <a:p>
            <a:pPr marL="285750" indent="-28575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What is next ?</a:t>
            </a:r>
          </a:p>
          <a:p>
            <a:pPr algn="l" rtl="0">
              <a:lnSpc>
                <a:spcPct val="120000"/>
              </a:lnSpc>
            </a:pPr>
            <a:endParaRPr lang="fa-IR" sz="14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9579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8100392" y="5517232"/>
            <a:ext cx="288032" cy="2225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fa-IR"/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7773" y="1988840"/>
            <a:ext cx="3876675" cy="3629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5" name="Cube 64"/>
          <p:cNvSpPr/>
          <p:nvPr/>
        </p:nvSpPr>
        <p:spPr>
          <a:xfrm flipH="1">
            <a:off x="2922362" y="3023138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Cube 65"/>
          <p:cNvSpPr/>
          <p:nvPr/>
        </p:nvSpPr>
        <p:spPr>
          <a:xfrm flipH="1">
            <a:off x="3144932" y="3212976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Cube 66"/>
          <p:cNvSpPr/>
          <p:nvPr/>
        </p:nvSpPr>
        <p:spPr>
          <a:xfrm flipH="1">
            <a:off x="3354410" y="3429000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Cube 70"/>
          <p:cNvSpPr/>
          <p:nvPr/>
        </p:nvSpPr>
        <p:spPr>
          <a:xfrm flipH="1">
            <a:off x="3570434" y="3645024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Cube 71"/>
          <p:cNvSpPr/>
          <p:nvPr/>
        </p:nvSpPr>
        <p:spPr>
          <a:xfrm flipH="1">
            <a:off x="3786458" y="3867594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Cube 49"/>
          <p:cNvSpPr/>
          <p:nvPr/>
        </p:nvSpPr>
        <p:spPr>
          <a:xfrm flipH="1">
            <a:off x="2418306" y="3023138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Cube 60"/>
          <p:cNvSpPr/>
          <p:nvPr/>
        </p:nvSpPr>
        <p:spPr>
          <a:xfrm flipH="1">
            <a:off x="2640876" y="3212976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Cube 61"/>
          <p:cNvSpPr/>
          <p:nvPr/>
        </p:nvSpPr>
        <p:spPr>
          <a:xfrm flipH="1">
            <a:off x="2850354" y="3429000"/>
            <a:ext cx="497510" cy="497510"/>
          </a:xfrm>
          <a:prstGeom prst="cub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Cube 62"/>
          <p:cNvSpPr/>
          <p:nvPr/>
        </p:nvSpPr>
        <p:spPr>
          <a:xfrm flipH="1">
            <a:off x="3066378" y="3645024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Cube 63"/>
          <p:cNvSpPr/>
          <p:nvPr/>
        </p:nvSpPr>
        <p:spPr>
          <a:xfrm flipH="1">
            <a:off x="3282402" y="3867594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Cube 42"/>
          <p:cNvSpPr/>
          <p:nvPr/>
        </p:nvSpPr>
        <p:spPr>
          <a:xfrm flipH="1">
            <a:off x="1914250" y="3023138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Cube 43"/>
          <p:cNvSpPr/>
          <p:nvPr/>
        </p:nvSpPr>
        <p:spPr>
          <a:xfrm flipH="1">
            <a:off x="2136820" y="3212976"/>
            <a:ext cx="497510" cy="497510"/>
          </a:xfrm>
          <a:prstGeom prst="cub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Cube 44"/>
          <p:cNvSpPr/>
          <p:nvPr/>
        </p:nvSpPr>
        <p:spPr>
          <a:xfrm flipH="1">
            <a:off x="2346298" y="3429000"/>
            <a:ext cx="497510" cy="497510"/>
          </a:xfrm>
          <a:prstGeom prst="cube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Cube 46"/>
          <p:cNvSpPr/>
          <p:nvPr/>
        </p:nvSpPr>
        <p:spPr>
          <a:xfrm flipH="1">
            <a:off x="2562322" y="3645024"/>
            <a:ext cx="497510" cy="497510"/>
          </a:xfrm>
          <a:prstGeom prst="cub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Cube 48"/>
          <p:cNvSpPr/>
          <p:nvPr/>
        </p:nvSpPr>
        <p:spPr>
          <a:xfrm flipH="1">
            <a:off x="2778346" y="3867594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Cube 35"/>
          <p:cNvSpPr/>
          <p:nvPr/>
        </p:nvSpPr>
        <p:spPr>
          <a:xfrm flipH="1">
            <a:off x="1410194" y="3023138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Cube 36"/>
          <p:cNvSpPr/>
          <p:nvPr/>
        </p:nvSpPr>
        <p:spPr>
          <a:xfrm flipH="1">
            <a:off x="1632764" y="3212976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Cube 37"/>
          <p:cNvSpPr/>
          <p:nvPr/>
        </p:nvSpPr>
        <p:spPr>
          <a:xfrm flipH="1">
            <a:off x="1842242" y="3429000"/>
            <a:ext cx="497510" cy="497510"/>
          </a:xfrm>
          <a:prstGeom prst="cub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Cube 38"/>
          <p:cNvSpPr/>
          <p:nvPr/>
        </p:nvSpPr>
        <p:spPr>
          <a:xfrm flipH="1">
            <a:off x="2058266" y="3645024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Cube 41"/>
          <p:cNvSpPr/>
          <p:nvPr/>
        </p:nvSpPr>
        <p:spPr>
          <a:xfrm flipH="1">
            <a:off x="2274290" y="3867594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Cube 59"/>
          <p:cNvSpPr/>
          <p:nvPr/>
        </p:nvSpPr>
        <p:spPr>
          <a:xfrm flipH="1">
            <a:off x="906138" y="3023138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/>
          <p:cNvSpPr/>
          <p:nvPr/>
        </p:nvSpPr>
        <p:spPr>
          <a:xfrm>
            <a:off x="-14513" y="4797152"/>
            <a:ext cx="9171432" cy="2062535"/>
          </a:xfrm>
          <a:prstGeom prst="rect">
            <a:avLst/>
          </a:prstGeom>
          <a:gradFill>
            <a:gsLst>
              <a:gs pos="0">
                <a:srgbClr val="00B0F0">
                  <a:alpha val="65000"/>
                </a:srgbClr>
              </a:gs>
              <a:gs pos="50000">
                <a:srgbClr val="00AAE6">
                  <a:alpha val="31000"/>
                </a:srgbClr>
              </a:gs>
              <a:gs pos="100000">
                <a:srgbClr val="00B0F0">
                  <a:alpha val="0"/>
                </a:srgbClr>
              </a:gs>
            </a:gsLst>
            <a:lin ang="162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9" name="Title 3"/>
          <p:cNvSpPr txBox="1">
            <a:spLocks/>
          </p:cNvSpPr>
          <p:nvPr/>
        </p:nvSpPr>
        <p:spPr>
          <a:xfrm>
            <a:off x="0" y="922710"/>
            <a:ext cx="9144000" cy="634082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US" sz="2800" b="1" dirty="0" smtClean="0"/>
              <a:t>The Optimized Model</a:t>
            </a:r>
            <a:endParaRPr lang="en-US" sz="2800" b="1" dirty="0"/>
          </a:p>
        </p:txBody>
      </p:sp>
      <p:sp>
        <p:nvSpPr>
          <p:cNvPr id="32" name="Cube 31"/>
          <p:cNvSpPr/>
          <p:nvPr/>
        </p:nvSpPr>
        <p:spPr>
          <a:xfrm flipH="1">
            <a:off x="1128708" y="3212976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Cube 32"/>
          <p:cNvSpPr/>
          <p:nvPr/>
        </p:nvSpPr>
        <p:spPr>
          <a:xfrm flipH="1">
            <a:off x="1338186" y="3429000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Cube 33"/>
          <p:cNvSpPr/>
          <p:nvPr/>
        </p:nvSpPr>
        <p:spPr>
          <a:xfrm flipH="1">
            <a:off x="1554210" y="3645024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Cube 50"/>
          <p:cNvSpPr/>
          <p:nvPr/>
        </p:nvSpPr>
        <p:spPr>
          <a:xfrm flipH="1">
            <a:off x="1770234" y="3867594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8388424" y="3645024"/>
            <a:ext cx="288032" cy="2225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fa-IR"/>
          </a:p>
        </p:txBody>
      </p:sp>
      <p:sp>
        <p:nvSpPr>
          <p:cNvPr id="35" name="Title 3"/>
          <p:cNvSpPr txBox="1">
            <a:spLocks/>
          </p:cNvSpPr>
          <p:nvPr/>
        </p:nvSpPr>
        <p:spPr>
          <a:xfrm>
            <a:off x="36512" y="-13394"/>
            <a:ext cx="9144000" cy="922114"/>
          </a:xfrm>
          <a:prstGeom prst="rect">
            <a:avLst/>
          </a:prstGeom>
        </p:spPr>
        <p:txBody>
          <a:bodyPr vert="horz" lIns="91440" tIns="45720" rIns="91440" bIns="45720" numCol="2" rtlCol="0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>
                    <a:lumMod val="65000"/>
                  </a:schemeClr>
                </a:solidFill>
              </a:rPr>
              <a:t>Solar </a:t>
            </a: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Flares </a:t>
            </a:r>
          </a:p>
          <a:p>
            <a:pPr marL="285750" indent="-285750" algn="l" rtl="0">
              <a:buFont typeface="Arial" pitchFamily="34" charset="0"/>
              <a:buChar char="•"/>
            </a:pP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Cellular Automaton Avalanche Models</a:t>
            </a:r>
          </a:p>
          <a:p>
            <a:pPr marL="285750" indent="-285750" algn="l" rtl="0">
              <a:lnSpc>
                <a:spcPct val="120000"/>
              </a:lnSpc>
              <a:buFont typeface="Wingdings" pitchFamily="2" charset="2"/>
              <a:buChar char="Ø"/>
            </a:pPr>
            <a:r>
              <a:rPr lang="en-US" sz="1400" dirty="0" smtClean="0"/>
              <a:t>The </a:t>
            </a:r>
            <a:r>
              <a:rPr lang="en-US" sz="1400" dirty="0"/>
              <a:t>Optimized Model</a:t>
            </a:r>
          </a:p>
          <a:p>
            <a:pPr marL="285750" indent="-28575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What is next ?</a:t>
            </a:r>
          </a:p>
          <a:p>
            <a:pPr algn="l" rtl="0">
              <a:lnSpc>
                <a:spcPct val="120000"/>
              </a:lnSpc>
            </a:pPr>
            <a:endParaRPr lang="fa-IR" sz="14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212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8100392" y="5517232"/>
            <a:ext cx="288032" cy="2225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fa-IR"/>
          </a:p>
        </p:txBody>
      </p:sp>
      <p:sp>
        <p:nvSpPr>
          <p:cNvPr id="52" name="Rectangle 51"/>
          <p:cNvSpPr/>
          <p:nvPr/>
        </p:nvSpPr>
        <p:spPr>
          <a:xfrm>
            <a:off x="-36512" y="4797152"/>
            <a:ext cx="9171432" cy="2062535"/>
          </a:xfrm>
          <a:prstGeom prst="rect">
            <a:avLst/>
          </a:prstGeom>
          <a:gradFill>
            <a:gsLst>
              <a:gs pos="0">
                <a:srgbClr val="00B0F0">
                  <a:alpha val="65000"/>
                </a:srgbClr>
              </a:gs>
              <a:gs pos="50000">
                <a:srgbClr val="00AAE6">
                  <a:alpha val="31000"/>
                </a:srgbClr>
              </a:gs>
              <a:gs pos="100000">
                <a:srgbClr val="00B0F0">
                  <a:alpha val="0"/>
                </a:srgbClr>
              </a:gs>
            </a:gsLst>
            <a:lin ang="162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9" name="Title 3"/>
          <p:cNvSpPr txBox="1">
            <a:spLocks/>
          </p:cNvSpPr>
          <p:nvPr/>
        </p:nvSpPr>
        <p:spPr>
          <a:xfrm>
            <a:off x="0" y="922710"/>
            <a:ext cx="9144000" cy="634082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US" sz="2800" b="1" dirty="0" smtClean="0"/>
              <a:t>The Optimized Model</a:t>
            </a:r>
            <a:endParaRPr lang="en-US" sz="2800" b="1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1467" y="3043808"/>
            <a:ext cx="1304925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9499" y="3576806"/>
            <a:ext cx="792088" cy="5002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ight Brace 3"/>
          <p:cNvSpPr/>
          <p:nvPr/>
        </p:nvSpPr>
        <p:spPr>
          <a:xfrm>
            <a:off x="2899619" y="2924944"/>
            <a:ext cx="360040" cy="1224136"/>
          </a:xfrm>
          <a:prstGeom prst="rightBrace">
            <a:avLst>
              <a:gd name="adj1" fmla="val 49644"/>
              <a:gd name="adj2" fmla="val 48918"/>
            </a:avLst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fa-IR"/>
          </a:p>
        </p:txBody>
      </p:sp>
      <p:sp>
        <p:nvSpPr>
          <p:cNvPr id="5" name="Right Arrow 4"/>
          <p:cNvSpPr/>
          <p:nvPr/>
        </p:nvSpPr>
        <p:spPr>
          <a:xfrm>
            <a:off x="3547691" y="3356992"/>
            <a:ext cx="576064" cy="351083"/>
          </a:xfrm>
          <a:prstGeom prst="righ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endParaRPr lang="fa-IR"/>
          </a:p>
        </p:txBody>
      </p:sp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9779" y="3281615"/>
            <a:ext cx="880293" cy="579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6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9088" y="2412378"/>
            <a:ext cx="2313272" cy="2240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/>
        </p:nvSpPr>
        <p:spPr>
          <a:xfrm>
            <a:off x="6516216" y="4356594"/>
            <a:ext cx="288032" cy="28803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endParaRPr lang="fa-IR"/>
          </a:p>
        </p:txBody>
      </p:sp>
      <p:sp>
        <p:nvSpPr>
          <p:cNvPr id="48" name="Title 3"/>
          <p:cNvSpPr txBox="1">
            <a:spLocks/>
          </p:cNvSpPr>
          <p:nvPr/>
        </p:nvSpPr>
        <p:spPr>
          <a:xfrm>
            <a:off x="36512" y="6251302"/>
            <a:ext cx="9144000" cy="634082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r>
              <a:rPr lang="fi-FI" sz="1100" dirty="0" smtClean="0"/>
              <a:t>1. Lu</a:t>
            </a:r>
            <a:r>
              <a:rPr lang="fi-FI" sz="1100" dirty="0"/>
              <a:t>, E. T. &amp; Hamilton, R. J. 1991, ApJ, 380, </a:t>
            </a:r>
            <a:r>
              <a:rPr lang="fi-FI" sz="1100" dirty="0" smtClean="0"/>
              <a:t>L89</a:t>
            </a:r>
          </a:p>
          <a:p>
            <a:pPr algn="l" rtl="0"/>
            <a:r>
              <a:rPr lang="en-US" sz="1100" dirty="0" smtClean="0"/>
              <a:t>2. </a:t>
            </a:r>
            <a:r>
              <a:rPr lang="en-US" sz="1100" dirty="0" err="1" smtClean="0"/>
              <a:t>Strugarek</a:t>
            </a:r>
            <a:r>
              <a:rPr lang="en-US" sz="1100" dirty="0"/>
              <a:t>, A., Charbonneau, P., Joseph, R. &amp; </a:t>
            </a:r>
            <a:r>
              <a:rPr lang="en-US" sz="1100" dirty="0" err="1"/>
              <a:t>Pirot</a:t>
            </a:r>
            <a:r>
              <a:rPr lang="en-US" sz="1100" dirty="0"/>
              <a:t>, D</a:t>
            </a:r>
            <a:r>
              <a:rPr lang="en-US" sz="1100" dirty="0" smtClean="0"/>
              <a:t>.,</a:t>
            </a:r>
            <a:r>
              <a:rPr lang="fa-IR" sz="1100" dirty="0" smtClean="0"/>
              <a:t> </a:t>
            </a:r>
            <a:r>
              <a:rPr lang="en-US" sz="1100" dirty="0"/>
              <a:t>2014, </a:t>
            </a:r>
            <a:r>
              <a:rPr lang="en-US" sz="1100" dirty="0" err="1"/>
              <a:t>SoPh</a:t>
            </a:r>
            <a:r>
              <a:rPr lang="en-US" sz="1100" dirty="0"/>
              <a:t>, 289, 2993</a:t>
            </a:r>
          </a:p>
        </p:txBody>
      </p:sp>
      <p:cxnSp>
        <p:nvCxnSpPr>
          <p:cNvPr id="53" name="Straight Connector 52"/>
          <p:cNvCxnSpPr/>
          <p:nvPr/>
        </p:nvCxnSpPr>
        <p:spPr>
          <a:xfrm>
            <a:off x="108520" y="6309320"/>
            <a:ext cx="3959424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4" name="Title 3"/>
          <p:cNvSpPr txBox="1">
            <a:spLocks/>
          </p:cNvSpPr>
          <p:nvPr/>
        </p:nvSpPr>
        <p:spPr>
          <a:xfrm>
            <a:off x="36512" y="-13394"/>
            <a:ext cx="9144000" cy="922114"/>
          </a:xfrm>
          <a:prstGeom prst="rect">
            <a:avLst/>
          </a:prstGeom>
        </p:spPr>
        <p:txBody>
          <a:bodyPr vert="horz" lIns="91440" tIns="45720" rIns="91440" bIns="45720" numCol="2" rtlCol="0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>
                    <a:lumMod val="65000"/>
                  </a:schemeClr>
                </a:solidFill>
              </a:rPr>
              <a:t>Solar </a:t>
            </a: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Flares </a:t>
            </a:r>
          </a:p>
          <a:p>
            <a:pPr marL="285750" indent="-285750" algn="l" rtl="0">
              <a:buFont typeface="Arial" pitchFamily="34" charset="0"/>
              <a:buChar char="•"/>
            </a:pP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Cellular Automaton Avalanche Models</a:t>
            </a:r>
          </a:p>
          <a:p>
            <a:pPr marL="285750" indent="-285750" algn="l" rtl="0">
              <a:lnSpc>
                <a:spcPct val="120000"/>
              </a:lnSpc>
              <a:buFont typeface="Wingdings" pitchFamily="2" charset="2"/>
              <a:buChar char="Ø"/>
            </a:pPr>
            <a:r>
              <a:rPr lang="en-US" sz="1400" dirty="0" smtClean="0"/>
              <a:t>The </a:t>
            </a:r>
            <a:r>
              <a:rPr lang="en-US" sz="1400" dirty="0"/>
              <a:t>Optimized Model</a:t>
            </a:r>
          </a:p>
          <a:p>
            <a:pPr marL="285750" indent="-28575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What is next ?</a:t>
            </a:r>
          </a:p>
          <a:p>
            <a:pPr algn="l" rtl="0">
              <a:lnSpc>
                <a:spcPct val="120000"/>
              </a:lnSpc>
            </a:pPr>
            <a:endParaRPr lang="fa-IR" sz="14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278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0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saturation sat="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3789040"/>
            <a:ext cx="7120960" cy="2205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3" name="Rectangle 72"/>
          <p:cNvSpPr/>
          <p:nvPr/>
        </p:nvSpPr>
        <p:spPr>
          <a:xfrm>
            <a:off x="8100392" y="5517232"/>
            <a:ext cx="288032" cy="2225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fa-IR"/>
          </a:p>
        </p:txBody>
      </p:sp>
      <p:sp>
        <p:nvSpPr>
          <p:cNvPr id="52" name="Rectangle 51"/>
          <p:cNvSpPr/>
          <p:nvPr/>
        </p:nvSpPr>
        <p:spPr>
          <a:xfrm>
            <a:off x="-36512" y="4797152"/>
            <a:ext cx="9171432" cy="2062535"/>
          </a:xfrm>
          <a:prstGeom prst="rect">
            <a:avLst/>
          </a:prstGeom>
          <a:gradFill>
            <a:gsLst>
              <a:gs pos="0">
                <a:srgbClr val="00B0F0">
                  <a:alpha val="65000"/>
                </a:srgbClr>
              </a:gs>
              <a:gs pos="50000">
                <a:srgbClr val="00AAE6">
                  <a:alpha val="31000"/>
                </a:srgbClr>
              </a:gs>
              <a:gs pos="100000">
                <a:srgbClr val="00B0F0">
                  <a:alpha val="0"/>
                </a:srgbClr>
              </a:gs>
            </a:gsLst>
            <a:lin ang="162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9" name="Title 3"/>
          <p:cNvSpPr txBox="1">
            <a:spLocks/>
          </p:cNvSpPr>
          <p:nvPr/>
        </p:nvSpPr>
        <p:spPr>
          <a:xfrm>
            <a:off x="0" y="922710"/>
            <a:ext cx="9144000" cy="634082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US" sz="2800" b="1" dirty="0" smtClean="0"/>
              <a:t>The Optimized Model</a:t>
            </a:r>
            <a:endParaRPr lang="en-US" sz="2800" b="1" dirty="0"/>
          </a:p>
        </p:txBody>
      </p:sp>
      <p:sp>
        <p:nvSpPr>
          <p:cNvPr id="2" name="Rectangle 1"/>
          <p:cNvSpPr/>
          <p:nvPr/>
        </p:nvSpPr>
        <p:spPr>
          <a:xfrm>
            <a:off x="8388424" y="3645024"/>
            <a:ext cx="288032" cy="2225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fa-IR"/>
          </a:p>
        </p:txBody>
      </p:sp>
      <p:pic>
        <p:nvPicPr>
          <p:cNvPr id="13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saturation sat="200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172" y="2902564"/>
            <a:ext cx="4821884" cy="8864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0406" y="2060848"/>
            <a:ext cx="1548108" cy="5536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4" y="1988361"/>
            <a:ext cx="2152080" cy="21449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itle 3"/>
          <p:cNvSpPr txBox="1">
            <a:spLocks/>
          </p:cNvSpPr>
          <p:nvPr/>
        </p:nvSpPr>
        <p:spPr>
          <a:xfrm>
            <a:off x="36512" y="-13394"/>
            <a:ext cx="9144000" cy="922114"/>
          </a:xfrm>
          <a:prstGeom prst="rect">
            <a:avLst/>
          </a:prstGeom>
        </p:spPr>
        <p:txBody>
          <a:bodyPr vert="horz" lIns="91440" tIns="45720" rIns="91440" bIns="45720" numCol="2" rtlCol="0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>
                    <a:lumMod val="65000"/>
                  </a:schemeClr>
                </a:solidFill>
              </a:rPr>
              <a:t>Solar </a:t>
            </a: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Flares </a:t>
            </a:r>
          </a:p>
          <a:p>
            <a:pPr marL="285750" indent="-285750" algn="l" rtl="0">
              <a:buFont typeface="Arial" pitchFamily="34" charset="0"/>
              <a:buChar char="•"/>
            </a:pP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Cellular Automaton Avalanche Models</a:t>
            </a:r>
          </a:p>
          <a:p>
            <a:pPr marL="285750" indent="-285750" algn="l" rtl="0">
              <a:lnSpc>
                <a:spcPct val="120000"/>
              </a:lnSpc>
              <a:buFont typeface="Wingdings" pitchFamily="2" charset="2"/>
              <a:buChar char="Ø"/>
            </a:pPr>
            <a:r>
              <a:rPr lang="en-US" sz="1400" dirty="0" smtClean="0"/>
              <a:t>The </a:t>
            </a:r>
            <a:r>
              <a:rPr lang="en-US" sz="1400" dirty="0"/>
              <a:t>Optimized Model</a:t>
            </a:r>
          </a:p>
          <a:p>
            <a:pPr marL="285750" indent="-28575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What is next ?</a:t>
            </a:r>
          </a:p>
          <a:p>
            <a:pPr algn="l" rtl="0">
              <a:lnSpc>
                <a:spcPct val="120000"/>
              </a:lnSpc>
            </a:pPr>
            <a:endParaRPr lang="fa-IR" sz="14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944184" y="3933056"/>
            <a:ext cx="220104" cy="200235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endParaRPr lang="fa-IR"/>
          </a:p>
        </p:txBody>
      </p:sp>
    </p:spTree>
    <p:extLst>
      <p:ext uri="{BB962C8B-B14F-4D97-AF65-F5344CB8AC3E}">
        <p14:creationId xmlns:p14="http://schemas.microsoft.com/office/powerpoint/2010/main" val="1413675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8887" y="2564904"/>
            <a:ext cx="3876675" cy="3629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3" name="Rectangle 72"/>
          <p:cNvSpPr/>
          <p:nvPr/>
        </p:nvSpPr>
        <p:spPr>
          <a:xfrm>
            <a:off x="8100392" y="5517232"/>
            <a:ext cx="288032" cy="2225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fa-IR"/>
          </a:p>
        </p:txBody>
      </p:sp>
      <p:sp>
        <p:nvSpPr>
          <p:cNvPr id="52" name="Rectangle 51"/>
          <p:cNvSpPr/>
          <p:nvPr/>
        </p:nvSpPr>
        <p:spPr>
          <a:xfrm>
            <a:off x="-14513" y="4797152"/>
            <a:ext cx="9171432" cy="2062535"/>
          </a:xfrm>
          <a:prstGeom prst="rect">
            <a:avLst/>
          </a:prstGeom>
          <a:gradFill>
            <a:gsLst>
              <a:gs pos="0">
                <a:srgbClr val="00B0F0">
                  <a:alpha val="65000"/>
                </a:srgbClr>
              </a:gs>
              <a:gs pos="50000">
                <a:srgbClr val="00AAE6">
                  <a:alpha val="31000"/>
                </a:srgbClr>
              </a:gs>
              <a:gs pos="100000">
                <a:srgbClr val="00B0F0">
                  <a:alpha val="0"/>
                </a:srgbClr>
              </a:gs>
            </a:gsLst>
            <a:lin ang="162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9" name="Title 3"/>
          <p:cNvSpPr txBox="1">
            <a:spLocks/>
          </p:cNvSpPr>
          <p:nvPr/>
        </p:nvSpPr>
        <p:spPr>
          <a:xfrm>
            <a:off x="0" y="922710"/>
            <a:ext cx="9144000" cy="634082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US" sz="2800" b="1" dirty="0" smtClean="0"/>
              <a:t>The Optimized Model</a:t>
            </a:r>
            <a:endParaRPr lang="en-US" sz="2800" b="1" dirty="0"/>
          </a:p>
        </p:txBody>
      </p:sp>
      <p:sp>
        <p:nvSpPr>
          <p:cNvPr id="2" name="Rectangle 1"/>
          <p:cNvSpPr/>
          <p:nvPr/>
        </p:nvSpPr>
        <p:spPr>
          <a:xfrm>
            <a:off x="8388424" y="3645024"/>
            <a:ext cx="288032" cy="2225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fa-IR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1988840"/>
            <a:ext cx="2085975" cy="50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itle 3"/>
          <p:cNvSpPr txBox="1">
            <a:spLocks/>
          </p:cNvSpPr>
          <p:nvPr/>
        </p:nvSpPr>
        <p:spPr>
          <a:xfrm>
            <a:off x="36512" y="-13394"/>
            <a:ext cx="9144000" cy="922114"/>
          </a:xfrm>
          <a:prstGeom prst="rect">
            <a:avLst/>
          </a:prstGeom>
        </p:spPr>
        <p:txBody>
          <a:bodyPr vert="horz" lIns="91440" tIns="45720" rIns="91440" bIns="45720" numCol="2" rtlCol="0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>
                    <a:lumMod val="65000"/>
                  </a:schemeClr>
                </a:solidFill>
              </a:rPr>
              <a:t>Solar </a:t>
            </a: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Flares </a:t>
            </a:r>
          </a:p>
          <a:p>
            <a:pPr marL="285750" indent="-285750" algn="l" rtl="0">
              <a:buFont typeface="Arial" pitchFamily="34" charset="0"/>
              <a:buChar char="•"/>
            </a:pP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Cellular Automaton Avalanche Models</a:t>
            </a:r>
          </a:p>
          <a:p>
            <a:pPr marL="285750" indent="-285750" algn="l" rtl="0">
              <a:lnSpc>
                <a:spcPct val="120000"/>
              </a:lnSpc>
              <a:buFont typeface="Wingdings" pitchFamily="2" charset="2"/>
              <a:buChar char="Ø"/>
            </a:pPr>
            <a:r>
              <a:rPr lang="en-US" sz="1400" dirty="0" smtClean="0"/>
              <a:t>The </a:t>
            </a:r>
            <a:r>
              <a:rPr lang="en-US" sz="1400" dirty="0"/>
              <a:t>Optimized Model</a:t>
            </a:r>
          </a:p>
          <a:p>
            <a:pPr marL="285750" indent="-28575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What is next ?</a:t>
            </a:r>
          </a:p>
          <a:p>
            <a:pPr algn="l" rtl="0">
              <a:lnSpc>
                <a:spcPct val="120000"/>
              </a:lnSpc>
            </a:pPr>
            <a:endParaRPr lang="fa-IR" sz="14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" name="Right Arrow 2"/>
          <p:cNvSpPr/>
          <p:nvPr/>
        </p:nvSpPr>
        <p:spPr>
          <a:xfrm>
            <a:off x="5364088" y="4006762"/>
            <a:ext cx="936104" cy="432048"/>
          </a:xfrm>
          <a:prstGeom prst="righ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endParaRPr lang="fa-IR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475" y="3861048"/>
            <a:ext cx="1685925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68043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8100392" y="5517232"/>
            <a:ext cx="288032" cy="2225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fa-IR"/>
          </a:p>
        </p:txBody>
      </p:sp>
      <p:sp>
        <p:nvSpPr>
          <p:cNvPr id="52" name="Rectangle 51"/>
          <p:cNvSpPr/>
          <p:nvPr/>
        </p:nvSpPr>
        <p:spPr>
          <a:xfrm>
            <a:off x="-14513" y="4797152"/>
            <a:ext cx="9171432" cy="2062535"/>
          </a:xfrm>
          <a:prstGeom prst="rect">
            <a:avLst/>
          </a:prstGeom>
          <a:gradFill>
            <a:gsLst>
              <a:gs pos="0">
                <a:srgbClr val="00B0F0">
                  <a:alpha val="65000"/>
                </a:srgbClr>
              </a:gs>
              <a:gs pos="50000">
                <a:srgbClr val="00AAE6">
                  <a:alpha val="31000"/>
                </a:srgbClr>
              </a:gs>
              <a:gs pos="100000">
                <a:srgbClr val="00B0F0">
                  <a:alpha val="0"/>
                </a:srgbClr>
              </a:gs>
            </a:gsLst>
            <a:lin ang="162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9" name="Title 3"/>
          <p:cNvSpPr txBox="1">
            <a:spLocks/>
          </p:cNvSpPr>
          <p:nvPr/>
        </p:nvSpPr>
        <p:spPr>
          <a:xfrm>
            <a:off x="0" y="922710"/>
            <a:ext cx="9144000" cy="634082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US" sz="2800" b="1" dirty="0" smtClean="0"/>
              <a:t>What is the next step?</a:t>
            </a:r>
            <a:endParaRPr lang="en-US" sz="2800" b="1" dirty="0"/>
          </a:p>
        </p:txBody>
      </p:sp>
      <p:sp>
        <p:nvSpPr>
          <p:cNvPr id="2" name="Rectangle 1"/>
          <p:cNvSpPr/>
          <p:nvPr/>
        </p:nvSpPr>
        <p:spPr>
          <a:xfrm>
            <a:off x="8388424" y="3645024"/>
            <a:ext cx="288032" cy="2225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fa-IR"/>
          </a:p>
        </p:txBody>
      </p:sp>
      <p:sp>
        <p:nvSpPr>
          <p:cNvPr id="15" name="Title 3"/>
          <p:cNvSpPr txBox="1">
            <a:spLocks/>
          </p:cNvSpPr>
          <p:nvPr/>
        </p:nvSpPr>
        <p:spPr>
          <a:xfrm>
            <a:off x="36512" y="-13394"/>
            <a:ext cx="9144000" cy="922114"/>
          </a:xfrm>
          <a:prstGeom prst="rect">
            <a:avLst/>
          </a:prstGeom>
        </p:spPr>
        <p:txBody>
          <a:bodyPr vert="horz" lIns="91440" tIns="45720" rIns="91440" bIns="45720" numCol="2" rtlCol="0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>
                    <a:lumMod val="65000"/>
                  </a:schemeClr>
                </a:solidFill>
              </a:rPr>
              <a:t>Solar </a:t>
            </a: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Flares </a:t>
            </a:r>
          </a:p>
          <a:p>
            <a:pPr marL="285750" indent="-285750" algn="l" rtl="0">
              <a:buFont typeface="Arial" pitchFamily="34" charset="0"/>
              <a:buChar char="•"/>
            </a:pP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Cellular Automaton Avalanche Models</a:t>
            </a:r>
          </a:p>
          <a:p>
            <a:pPr marL="285750" indent="-28575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>
                    <a:lumMod val="65000"/>
                  </a:schemeClr>
                </a:solidFill>
              </a:rPr>
              <a:t>The </a:t>
            </a: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Optimized Model</a:t>
            </a:r>
          </a:p>
          <a:p>
            <a:pPr marL="285750" indent="-285750" algn="l" rtl="0">
              <a:lnSpc>
                <a:spcPct val="120000"/>
              </a:lnSpc>
              <a:buFont typeface="Wingdings" pitchFamily="2" charset="2"/>
              <a:buChar char="Ø"/>
            </a:pPr>
            <a:r>
              <a:rPr lang="en-US" sz="1400" dirty="0"/>
              <a:t>What is next ?</a:t>
            </a:r>
          </a:p>
          <a:p>
            <a:pPr algn="l" rtl="0">
              <a:lnSpc>
                <a:spcPct val="120000"/>
              </a:lnSpc>
            </a:pPr>
            <a:endParaRPr lang="fa-IR" sz="14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 rot="1222287">
            <a:off x="6582699" y="2592515"/>
            <a:ext cx="1961360" cy="4708981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perspectiveLeft" fov="4200000">
                <a:rot lat="0" lon="21599996" rev="0"/>
              </a:camera>
              <a:lightRig rig="threePt" dir="t"/>
            </a:scene3d>
            <a:sp3d extrusionH="508000" prstMaterial="metal">
              <a:bevelT w="190500" h="190500"/>
            </a:sp3d>
          </a:bodyPr>
          <a:lstStyle/>
          <a:p>
            <a:pPr algn="ctr"/>
            <a:r>
              <a:rPr lang="en-US" sz="30000" dirty="0" smtClean="0">
                <a:solidFill>
                  <a:srgbClr val="C00000"/>
                </a:solidFill>
                <a:latin typeface="Arial Black" pitchFamily="34" charset="0"/>
                <a:cs typeface="Arial" pitchFamily="34" charset="0"/>
              </a:rPr>
              <a:t>?</a:t>
            </a:r>
            <a:endParaRPr lang="en-US" sz="30000" dirty="0">
              <a:solidFill>
                <a:srgbClr val="C00000"/>
              </a:solidFill>
              <a:latin typeface="Arial Black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199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89000"/>
            <a:lum/>
          </a:blip>
          <a:srcRect/>
          <a:stretch>
            <a:fillRect l="-32000" r="-3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9168" y="1628800"/>
            <a:ext cx="8795320" cy="2866330"/>
          </a:xfrm>
        </p:spPr>
        <p:txBody>
          <a:bodyPr>
            <a:normAutofit/>
          </a:bodyPr>
          <a:lstStyle/>
          <a:p>
            <a:pPr rtl="0"/>
            <a:r>
              <a:rPr lang="en-US" sz="8000" dirty="0" smtClean="0">
                <a:solidFill>
                  <a:schemeClr val="bg1"/>
                </a:solidFill>
                <a:latin typeface="Arial Rounded MT Bold" pitchFamily="34" charset="0"/>
              </a:rPr>
              <a:t>Thanks </a:t>
            </a:r>
            <a:r>
              <a:rPr lang="en-US" sz="8000" dirty="0" smtClean="0">
                <a:solidFill>
                  <a:schemeClr val="bg1"/>
                </a:solidFill>
                <a:latin typeface="Arial Rounded MT Bold" pitchFamily="34" charset="0"/>
                <a:sym typeface="Wingdings" pitchFamily="2" charset="2"/>
              </a:rPr>
              <a:t></a:t>
            </a:r>
            <a:endParaRPr lang="fa-IR" sz="8000" dirty="0">
              <a:solidFill>
                <a:schemeClr val="bg1"/>
              </a:solidFill>
              <a:latin typeface="Arial Rounded MT Bol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20853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4524" y="4221088"/>
            <a:ext cx="4315708" cy="180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-14513" y="4795467"/>
            <a:ext cx="9171432" cy="2062535"/>
          </a:xfrm>
          <a:prstGeom prst="rect">
            <a:avLst/>
          </a:prstGeom>
          <a:gradFill>
            <a:gsLst>
              <a:gs pos="0">
                <a:srgbClr val="00B0F0">
                  <a:alpha val="65000"/>
                </a:srgbClr>
              </a:gs>
              <a:gs pos="50000">
                <a:srgbClr val="00AAE6">
                  <a:alpha val="31000"/>
                </a:srgbClr>
              </a:gs>
              <a:gs pos="100000">
                <a:srgbClr val="00B0F0">
                  <a:alpha val="0"/>
                </a:srgbClr>
              </a:gs>
            </a:gsLst>
            <a:lin ang="162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922710"/>
            <a:ext cx="9144000" cy="634082"/>
          </a:xfrm>
        </p:spPr>
        <p:txBody>
          <a:bodyPr>
            <a:normAutofit/>
          </a:bodyPr>
          <a:lstStyle/>
          <a:p>
            <a:pPr lvl="1" algn="ctr" rtl="0"/>
            <a:r>
              <a:rPr lang="en-US" sz="2800" b="1" dirty="0" smtClean="0"/>
              <a:t>Solar Flares </a:t>
            </a: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1864990"/>
            <a:ext cx="1914525" cy="1924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5630" y="1874515"/>
            <a:ext cx="1924050" cy="1914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ight Arrow 5"/>
          <p:cNvSpPr/>
          <p:nvPr/>
        </p:nvSpPr>
        <p:spPr>
          <a:xfrm>
            <a:off x="4067944" y="2636912"/>
            <a:ext cx="792088" cy="360040"/>
          </a:xfrm>
          <a:prstGeom prst="rightArrow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endParaRPr lang="fa-IR"/>
          </a:p>
        </p:txBody>
      </p:sp>
      <p:sp>
        <p:nvSpPr>
          <p:cNvPr id="7" name="Bent Arrow 6"/>
          <p:cNvSpPr/>
          <p:nvPr/>
        </p:nvSpPr>
        <p:spPr>
          <a:xfrm rot="8383422">
            <a:off x="6507744" y="3478254"/>
            <a:ext cx="1863356" cy="1548172"/>
          </a:xfrm>
          <a:prstGeom prst="bentArrow">
            <a:avLst>
              <a:gd name="adj1" fmla="val 19380"/>
              <a:gd name="adj2" fmla="val 25107"/>
              <a:gd name="adj3" fmla="val 34306"/>
              <a:gd name="adj4" fmla="val 36559"/>
            </a:avLst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endParaRPr lang="fa-IR">
              <a:solidFill>
                <a:schemeClr val="tx1"/>
              </a:solidFill>
            </a:endParaRPr>
          </a:p>
        </p:txBody>
      </p:sp>
      <p:sp>
        <p:nvSpPr>
          <p:cNvPr id="16" name="Title 3"/>
          <p:cNvSpPr txBox="1">
            <a:spLocks/>
          </p:cNvSpPr>
          <p:nvPr/>
        </p:nvSpPr>
        <p:spPr>
          <a:xfrm>
            <a:off x="36512" y="-13394"/>
            <a:ext cx="9144000" cy="922114"/>
          </a:xfrm>
          <a:prstGeom prst="rect">
            <a:avLst/>
          </a:prstGeom>
        </p:spPr>
        <p:txBody>
          <a:bodyPr vert="horz" lIns="91440" tIns="45720" rIns="91440" bIns="45720" numCol="2" rtlCol="0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algn="l" rtl="0">
              <a:lnSpc>
                <a:spcPct val="120000"/>
              </a:lnSpc>
              <a:buFont typeface="Wingdings" pitchFamily="2" charset="2"/>
              <a:buChar char="Ø"/>
            </a:pPr>
            <a:r>
              <a:rPr lang="en-US" sz="1400" dirty="0" smtClean="0"/>
              <a:t>Solar </a:t>
            </a:r>
            <a:r>
              <a:rPr lang="en-US" sz="1400" dirty="0"/>
              <a:t>Flares </a:t>
            </a:r>
          </a:p>
          <a:p>
            <a:pPr marL="285750" indent="-285750" algn="l" rtl="0">
              <a:buFont typeface="Arial" pitchFamily="34" charset="0"/>
              <a:buChar char="•"/>
            </a:pP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Cellular Automaton Avalanche Models</a:t>
            </a:r>
          </a:p>
          <a:p>
            <a:pPr marL="285750" indent="-28575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>
                    <a:lumMod val="65000"/>
                  </a:schemeClr>
                </a:solidFill>
              </a:rPr>
              <a:t>The </a:t>
            </a: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Optimized Model</a:t>
            </a:r>
          </a:p>
          <a:p>
            <a:pPr marL="285750" indent="-28575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What is next ?</a:t>
            </a:r>
          </a:p>
          <a:p>
            <a:pPr algn="l" rtl="0">
              <a:lnSpc>
                <a:spcPct val="120000"/>
              </a:lnSpc>
            </a:pPr>
            <a:endParaRPr lang="fa-IR" sz="14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14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78864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tangle 48"/>
          <p:cNvSpPr/>
          <p:nvPr/>
        </p:nvSpPr>
        <p:spPr>
          <a:xfrm>
            <a:off x="-14513" y="4795467"/>
            <a:ext cx="9171432" cy="2062535"/>
          </a:xfrm>
          <a:prstGeom prst="rect">
            <a:avLst/>
          </a:prstGeom>
          <a:gradFill>
            <a:gsLst>
              <a:gs pos="0">
                <a:srgbClr val="00B0F0">
                  <a:alpha val="65000"/>
                </a:srgbClr>
              </a:gs>
              <a:gs pos="50000">
                <a:srgbClr val="00AAE6">
                  <a:alpha val="31000"/>
                </a:srgbClr>
              </a:gs>
              <a:gs pos="100000">
                <a:srgbClr val="00B0F0">
                  <a:alpha val="0"/>
                </a:srgbClr>
              </a:gs>
            </a:gsLst>
            <a:lin ang="162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Up Arrow 45"/>
          <p:cNvSpPr/>
          <p:nvPr/>
        </p:nvSpPr>
        <p:spPr>
          <a:xfrm rot="7681233">
            <a:off x="5141362" y="2187333"/>
            <a:ext cx="993641" cy="2914694"/>
          </a:xfrm>
          <a:prstGeom prst="upArrow">
            <a:avLst>
              <a:gd name="adj1" fmla="val 57947"/>
              <a:gd name="adj2" fmla="val 73918"/>
            </a:avLst>
          </a:prstGeom>
          <a:solidFill>
            <a:schemeClr val="tx2"/>
          </a:solidFill>
          <a:ln>
            <a:noFill/>
          </a:ln>
          <a:effectLst/>
          <a:scene3d>
            <a:camera prst="perspectiveRelaxed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0" name="TextBox 29"/>
          <p:cNvSpPr txBox="1"/>
          <p:nvPr/>
        </p:nvSpPr>
        <p:spPr>
          <a:xfrm>
            <a:off x="4211960" y="4087232"/>
            <a:ext cx="4107389" cy="1862048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perspectiveRelaxed"/>
              <a:lightRig rig="flat" dir="tl">
                <a:rot lat="0" lon="0" rev="6600000"/>
              </a:lightRig>
            </a:scene3d>
            <a:sp3d extrusionH="25400" contourW="8890" prstMaterial="matte">
              <a:bevelT w="0" h="165100"/>
              <a:extrusionClr>
                <a:schemeClr val="tx2">
                  <a:lumMod val="50000"/>
                </a:schemeClr>
              </a:extrusionClr>
              <a:contourClr>
                <a:schemeClr val="tx2">
                  <a:lumMod val="50000"/>
                </a:schemeClr>
              </a:contourClr>
            </a:sp3d>
          </a:bodyPr>
          <a:lstStyle/>
          <a:p>
            <a:r>
              <a:rPr lang="en-GB" sz="11500" b="1" dirty="0">
                <a:ln w="11430">
                  <a:solidFill>
                    <a:schemeClr val="tx1"/>
                  </a:solidFill>
                </a:ln>
                <a:solidFill>
                  <a:srgbClr val="63D2F9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Impact" pitchFamily="34" charset="0"/>
              </a:rPr>
              <a:t>GOAL </a:t>
            </a:r>
          </a:p>
        </p:txBody>
      </p:sp>
      <p:sp>
        <p:nvSpPr>
          <p:cNvPr id="43" name="Rounded Rectangle 42"/>
          <p:cNvSpPr/>
          <p:nvPr/>
        </p:nvSpPr>
        <p:spPr>
          <a:xfrm rot="20907156">
            <a:off x="1043608" y="1779581"/>
            <a:ext cx="5730557" cy="899703"/>
          </a:xfrm>
          <a:prstGeom prst="roundRect">
            <a:avLst/>
          </a:prstGeom>
          <a:gradFill flip="none" rotWithShape="1">
            <a:gsLst>
              <a:gs pos="76000">
                <a:srgbClr val="10B7F3"/>
              </a:gs>
              <a:gs pos="100000">
                <a:srgbClr val="63D2F9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  <a:effectLst>
            <a:outerShdw blurRad="139700" dist="38100" dir="5400000" algn="t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GB" sz="2400" b="1" dirty="0" smtClean="0">
                <a:solidFill>
                  <a:schemeClr val="bg1"/>
                </a:solidFill>
                <a:latin typeface="Franklin Gothic Medium" pitchFamily="34" charset="0"/>
              </a:rPr>
              <a:t>Explain The Observed Power-law Behaviour of Solar Flare Energies</a:t>
            </a:r>
            <a:endParaRPr lang="en-GB" sz="2400" b="1" dirty="0">
              <a:solidFill>
                <a:schemeClr val="bg1"/>
              </a:solidFill>
              <a:latin typeface="Franklin Gothic Medium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115616" y="3507773"/>
            <a:ext cx="3038529" cy="2261775"/>
            <a:chOff x="-231394" y="3334695"/>
            <a:chExt cx="3038529" cy="2261775"/>
          </a:xfrm>
        </p:grpSpPr>
        <p:sp>
          <p:nvSpPr>
            <p:cNvPr id="32" name="Oval 31"/>
            <p:cNvSpPr/>
            <p:nvPr/>
          </p:nvSpPr>
          <p:spPr>
            <a:xfrm rot="10800000">
              <a:off x="-231392" y="5134896"/>
              <a:ext cx="3038527" cy="461574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50000"/>
                    <a:alpha val="50000"/>
                  </a:schemeClr>
                </a:gs>
                <a:gs pos="58000">
                  <a:srgbClr val="0087E6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Oval 27"/>
            <p:cNvSpPr/>
            <p:nvPr/>
          </p:nvSpPr>
          <p:spPr>
            <a:xfrm>
              <a:off x="-231394" y="5033361"/>
              <a:ext cx="3038527" cy="461574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50000"/>
                    <a:alpha val="50000"/>
                  </a:schemeClr>
                </a:gs>
                <a:gs pos="58000">
                  <a:srgbClr val="0087E6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360447" y="3584475"/>
              <a:ext cx="1928439" cy="1928439"/>
              <a:chOff x="-3638830" y="5507251"/>
              <a:chExt cx="2899506" cy="2899507"/>
            </a:xfrm>
          </p:grpSpPr>
          <p:sp>
            <p:nvSpPr>
              <p:cNvPr id="19" name="Oval 18"/>
              <p:cNvSpPr/>
              <p:nvPr/>
            </p:nvSpPr>
            <p:spPr>
              <a:xfrm>
                <a:off x="-3638830" y="5507251"/>
                <a:ext cx="2899506" cy="2899507"/>
              </a:xfrm>
              <a:prstGeom prst="ellipse">
                <a:avLst/>
              </a:prstGeom>
              <a:solidFill>
                <a:srgbClr val="0054D0"/>
              </a:solidFill>
              <a:ln>
                <a:noFill/>
              </a:ln>
              <a:scene3d>
                <a:camera prst="isometricOffAxis1Top"/>
                <a:lightRig rig="threePt" dir="t"/>
              </a:scene3d>
              <a:sp3d>
                <a:bevelT w="44450" h="2603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0" name="Oval 19"/>
              <p:cNvSpPr/>
              <p:nvPr/>
            </p:nvSpPr>
            <p:spPr>
              <a:xfrm>
                <a:off x="-3288997" y="5844478"/>
                <a:ext cx="2187236" cy="2187236"/>
              </a:xfrm>
              <a:prstGeom prst="ellipse">
                <a:avLst/>
              </a:prstGeom>
              <a:solidFill>
                <a:srgbClr val="63D2F9">
                  <a:alpha val="79000"/>
                </a:srgbClr>
              </a:solidFill>
              <a:ln>
                <a:solidFill>
                  <a:srgbClr val="0070C0"/>
                </a:solidFill>
              </a:ln>
              <a:scene3d>
                <a:camera prst="isometricOffAxis1Top"/>
                <a:lightRig rig="threePt" dir="t"/>
              </a:scene3d>
              <a:sp3d>
                <a:bevelT w="4445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7200" b="1">
                  <a:ln w="18415" cmpd="sng">
                    <a:noFill/>
                    <a:prstDash val="solid"/>
                  </a:ln>
                  <a:solidFill>
                    <a:schemeClr val="tx2">
                      <a:lumMod val="50000"/>
                    </a:schemeClr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Impact" pitchFamily="34" charset="0"/>
                </a:endParaRPr>
              </a:p>
            </p:txBody>
          </p:sp>
        </p:grpSp>
        <p:pic>
          <p:nvPicPr>
            <p:cNvPr id="15" name="Picture 14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794"/>
            <a:stretch/>
          </p:blipFill>
          <p:spPr>
            <a:xfrm>
              <a:off x="763735" y="3334695"/>
              <a:ext cx="1284098" cy="1229320"/>
            </a:xfrm>
            <a:prstGeom prst="rect">
              <a:avLst/>
            </a:prstGeom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</p:pic>
      </p:grpSp>
      <p:sp>
        <p:nvSpPr>
          <p:cNvPr id="17" name="Title 3"/>
          <p:cNvSpPr txBox="1">
            <a:spLocks/>
          </p:cNvSpPr>
          <p:nvPr/>
        </p:nvSpPr>
        <p:spPr>
          <a:xfrm>
            <a:off x="36512" y="-13394"/>
            <a:ext cx="9144000" cy="922114"/>
          </a:xfrm>
          <a:prstGeom prst="rect">
            <a:avLst/>
          </a:prstGeom>
        </p:spPr>
        <p:txBody>
          <a:bodyPr vert="horz" lIns="91440" tIns="45720" rIns="91440" bIns="45720" numCol="2" rtlCol="0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algn="l" rtl="0">
              <a:lnSpc>
                <a:spcPct val="120000"/>
              </a:lnSpc>
              <a:buFont typeface="Wingdings" pitchFamily="2" charset="2"/>
              <a:buChar char="Ø"/>
            </a:pPr>
            <a:r>
              <a:rPr lang="en-US" sz="1400" dirty="0" smtClean="0"/>
              <a:t>Solar </a:t>
            </a:r>
            <a:r>
              <a:rPr lang="en-US" sz="1400" dirty="0"/>
              <a:t>Flares </a:t>
            </a:r>
          </a:p>
          <a:p>
            <a:pPr marL="285750" indent="-285750" algn="l" rtl="0">
              <a:buFont typeface="Arial" pitchFamily="34" charset="0"/>
              <a:buChar char="•"/>
            </a:pP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Cellular Automaton Avalanche Models</a:t>
            </a:r>
          </a:p>
          <a:p>
            <a:pPr marL="285750" indent="-28575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>
                    <a:lumMod val="65000"/>
                  </a:schemeClr>
                </a:solidFill>
              </a:rPr>
              <a:t>The </a:t>
            </a: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Optimized Model</a:t>
            </a:r>
          </a:p>
          <a:p>
            <a:pPr marL="285750" indent="-28575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What is next ?</a:t>
            </a:r>
          </a:p>
          <a:p>
            <a:pPr algn="l" rtl="0">
              <a:lnSpc>
                <a:spcPct val="120000"/>
              </a:lnSpc>
            </a:pPr>
            <a:endParaRPr lang="fa-IR" sz="14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394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4513" y="4795467"/>
            <a:ext cx="9171432" cy="2062535"/>
          </a:xfrm>
          <a:prstGeom prst="rect">
            <a:avLst/>
          </a:prstGeom>
          <a:gradFill>
            <a:gsLst>
              <a:gs pos="0">
                <a:srgbClr val="00B0F0">
                  <a:alpha val="65000"/>
                </a:srgbClr>
              </a:gs>
              <a:gs pos="50000">
                <a:srgbClr val="00AAE6">
                  <a:alpha val="31000"/>
                </a:srgbClr>
              </a:gs>
              <a:gs pos="100000">
                <a:srgbClr val="00B0F0">
                  <a:alpha val="0"/>
                </a:srgbClr>
              </a:gs>
            </a:gsLst>
            <a:lin ang="162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922710"/>
            <a:ext cx="9144000" cy="634082"/>
          </a:xfrm>
        </p:spPr>
        <p:txBody>
          <a:bodyPr>
            <a:normAutofit/>
          </a:bodyPr>
          <a:lstStyle/>
          <a:p>
            <a:pPr marL="0" indent="0" rtl="0"/>
            <a:r>
              <a:rPr lang="en-US" sz="2800" b="1" dirty="0"/>
              <a:t>Cellular Automaton Avalanche Models</a:t>
            </a:r>
          </a:p>
        </p:txBody>
      </p:sp>
      <p:sp>
        <p:nvSpPr>
          <p:cNvPr id="14" name="Title 3"/>
          <p:cNvSpPr txBox="1">
            <a:spLocks/>
          </p:cNvSpPr>
          <p:nvPr/>
        </p:nvSpPr>
        <p:spPr>
          <a:xfrm>
            <a:off x="36512" y="-13394"/>
            <a:ext cx="9144000" cy="922114"/>
          </a:xfrm>
          <a:prstGeom prst="rect">
            <a:avLst/>
          </a:prstGeom>
        </p:spPr>
        <p:txBody>
          <a:bodyPr vert="horz" lIns="91440" tIns="45720" rIns="91440" bIns="45720" numCol="2" rtlCol="0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>
                    <a:lumMod val="65000"/>
                  </a:schemeClr>
                </a:solidFill>
              </a:rPr>
              <a:t>Solar </a:t>
            </a: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Flares </a:t>
            </a:r>
          </a:p>
          <a:p>
            <a:pPr marL="285750" indent="-285750" algn="l" rtl="0">
              <a:buFont typeface="Wingdings" pitchFamily="2" charset="2"/>
              <a:buChar char="Ø"/>
            </a:pPr>
            <a:r>
              <a:rPr lang="en-US" sz="1400" dirty="0"/>
              <a:t>Cellular Automaton Avalanche Models</a:t>
            </a:r>
          </a:p>
          <a:p>
            <a:pPr marL="285750" indent="-28575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>
                    <a:lumMod val="65000"/>
                  </a:schemeClr>
                </a:solidFill>
              </a:rPr>
              <a:t>The </a:t>
            </a: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Optimized Model</a:t>
            </a:r>
          </a:p>
          <a:p>
            <a:pPr marL="285750" indent="-28575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What is next ?</a:t>
            </a:r>
          </a:p>
          <a:p>
            <a:pPr algn="l" rtl="0">
              <a:lnSpc>
                <a:spcPct val="120000"/>
              </a:lnSpc>
            </a:pPr>
            <a:endParaRPr lang="fa-IR" sz="14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1" name="Content Placeholder 1"/>
          <p:cNvSpPr>
            <a:spLocks noGrp="1"/>
          </p:cNvSpPr>
          <p:nvPr>
            <p:ph idx="1"/>
          </p:nvPr>
        </p:nvSpPr>
        <p:spPr>
          <a:xfrm>
            <a:off x="457200" y="2071389"/>
            <a:ext cx="8229600" cy="4525963"/>
          </a:xfrm>
        </p:spPr>
        <p:txBody>
          <a:bodyPr/>
          <a:lstStyle/>
          <a:p>
            <a:pPr marL="0" indent="0" algn="ctr" rtl="0">
              <a:buNone/>
            </a:pPr>
            <a:r>
              <a:rPr lang="en-US" dirty="0" smtClean="0"/>
              <a:t> Studying </a:t>
            </a:r>
            <a:r>
              <a:rPr lang="en-US" dirty="0"/>
              <a:t>the quasi-static evolution of </a:t>
            </a:r>
            <a:r>
              <a:rPr lang="en-US" dirty="0" smtClean="0"/>
              <a:t>coronal magnetic field and their </a:t>
            </a:r>
            <a:r>
              <a:rPr lang="en-US" dirty="0"/>
              <a:t>complex </a:t>
            </a:r>
            <a:r>
              <a:rPr lang="en-US" dirty="0" smtClean="0"/>
              <a:t>behavior by dividing avalanches </a:t>
            </a:r>
            <a:r>
              <a:rPr lang="en-US" dirty="0"/>
              <a:t>into discrete </a:t>
            </a:r>
            <a:r>
              <a:rPr lang="en-US" dirty="0" smtClean="0"/>
              <a:t>elements.</a:t>
            </a:r>
          </a:p>
          <a:p>
            <a:pPr marL="0" indent="0" algn="l" rtl="0">
              <a:buNone/>
            </a:pPr>
            <a:endParaRPr lang="en-US" dirty="0" smtClean="0"/>
          </a:p>
          <a:p>
            <a:pPr marL="0" indent="0" algn="l" rtl="0">
              <a:buNone/>
            </a:pPr>
            <a:endParaRPr lang="en-US" dirty="0"/>
          </a:p>
          <a:p>
            <a:pPr marL="0" indent="0" algn="ctr" rtl="0">
              <a:buNone/>
            </a:pPr>
            <a:r>
              <a:rPr lang="en-US" dirty="0" smtClean="0"/>
              <a:t>Sand-pile Model</a:t>
            </a:r>
            <a:endParaRPr lang="en-US" dirty="0"/>
          </a:p>
        </p:txBody>
      </p:sp>
      <p:sp>
        <p:nvSpPr>
          <p:cNvPr id="5" name="Down Arrow 4"/>
          <p:cNvSpPr/>
          <p:nvPr/>
        </p:nvSpPr>
        <p:spPr>
          <a:xfrm>
            <a:off x="4355976" y="3756173"/>
            <a:ext cx="648072" cy="864096"/>
          </a:xfrm>
          <a:prstGeom prst="down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endParaRPr lang="fa-IR"/>
          </a:p>
        </p:txBody>
      </p:sp>
    </p:spTree>
    <p:extLst>
      <p:ext uri="{BB962C8B-B14F-4D97-AF65-F5344CB8AC3E}">
        <p14:creationId xmlns:p14="http://schemas.microsoft.com/office/powerpoint/2010/main" val="2694660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/>
          <p:cNvSpPr/>
          <p:nvPr/>
        </p:nvSpPr>
        <p:spPr>
          <a:xfrm>
            <a:off x="-14513" y="4795467"/>
            <a:ext cx="9171432" cy="2062535"/>
          </a:xfrm>
          <a:prstGeom prst="rect">
            <a:avLst/>
          </a:prstGeom>
          <a:gradFill>
            <a:gsLst>
              <a:gs pos="0">
                <a:srgbClr val="00B0F0">
                  <a:alpha val="65000"/>
                </a:srgbClr>
              </a:gs>
              <a:gs pos="50000">
                <a:srgbClr val="00AAE6">
                  <a:alpha val="31000"/>
                </a:srgbClr>
              </a:gs>
              <a:gs pos="100000">
                <a:srgbClr val="00B0F0">
                  <a:alpha val="0"/>
                </a:srgbClr>
              </a:gs>
            </a:gsLst>
            <a:lin ang="162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3" name="Group 42"/>
          <p:cNvGrpSpPr/>
          <p:nvPr/>
        </p:nvGrpSpPr>
        <p:grpSpPr>
          <a:xfrm>
            <a:off x="755576" y="1783092"/>
            <a:ext cx="7887439" cy="4665587"/>
            <a:chOff x="0" y="774866"/>
            <a:chExt cx="9144000" cy="6083135"/>
          </a:xfrm>
        </p:grpSpPr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0" y="774866"/>
              <a:ext cx="9144000" cy="6083134"/>
            </a:xfrm>
            <a:custGeom>
              <a:avLst/>
              <a:gdLst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72084 h 6083134"/>
                <a:gd name="connsiteX30" fmla="*/ 2525410 w 9144000"/>
                <a:gd name="connsiteY30" fmla="*/ 3380398 h 6083134"/>
                <a:gd name="connsiteX31" fmla="*/ 2525410 w 9144000"/>
                <a:gd name="connsiteY31" fmla="*/ 3384753 h 6083134"/>
                <a:gd name="connsiteX32" fmla="*/ 2525410 w 9144000"/>
                <a:gd name="connsiteY32" fmla="*/ 3394255 h 6083134"/>
                <a:gd name="connsiteX33" fmla="*/ 2528911 w 9144000"/>
                <a:gd name="connsiteY33" fmla="*/ 3399797 h 6083134"/>
                <a:gd name="connsiteX34" fmla="*/ 2563921 w 9144000"/>
                <a:gd name="connsiteY34" fmla="*/ 3470270 h 6083134"/>
                <a:gd name="connsiteX35" fmla="*/ 2640942 w 9144000"/>
                <a:gd name="connsiteY35" fmla="*/ 3558954 h 6083134"/>
                <a:gd name="connsiteX36" fmla="*/ 2977035 w 9144000"/>
                <a:gd name="connsiteY36" fmla="*/ 3787000 h 6083134"/>
                <a:gd name="connsiteX37" fmla="*/ 3491676 w 9144000"/>
                <a:gd name="connsiteY37" fmla="*/ 4018213 h 6083134"/>
                <a:gd name="connsiteX38" fmla="*/ 4104345 w 9144000"/>
                <a:gd name="connsiteY38" fmla="*/ 4230422 h 6083134"/>
                <a:gd name="connsiteX39" fmla="*/ 4769528 w 9144000"/>
                <a:gd name="connsiteY39" fmla="*/ 4414126 h 6083134"/>
                <a:gd name="connsiteX40" fmla="*/ 6183917 w 9144000"/>
                <a:gd name="connsiteY40" fmla="*/ 4727688 h 6083134"/>
                <a:gd name="connsiteX41" fmla="*/ 7661324 w 9144000"/>
                <a:gd name="connsiteY41" fmla="*/ 4977905 h 6083134"/>
                <a:gd name="connsiteX42" fmla="*/ 9144000 w 9144000"/>
                <a:gd name="connsiteY42" fmla="*/ 5180860 h 6083134"/>
                <a:gd name="connsiteX43" fmla="*/ 9144000 w 9144000"/>
                <a:gd name="connsiteY43" fmla="*/ 6083134 h 6083134"/>
                <a:gd name="connsiteX44" fmla="*/ 4375201 w 9144000"/>
                <a:gd name="connsiteY44" fmla="*/ 6083134 h 6083134"/>
                <a:gd name="connsiteX45" fmla="*/ 3764751 w 9144000"/>
                <a:gd name="connsiteY45" fmla="*/ 5874251 h 6083134"/>
                <a:gd name="connsiteX46" fmla="*/ 3001541 w 9144000"/>
                <a:gd name="connsiteY46" fmla="*/ 5582860 h 6083134"/>
                <a:gd name="connsiteX47" fmla="*/ 2252335 w 9144000"/>
                <a:gd name="connsiteY47" fmla="*/ 5234456 h 6083134"/>
                <a:gd name="connsiteX48" fmla="*/ 1524135 w 9144000"/>
                <a:gd name="connsiteY48" fmla="*/ 4797369 h 6083134"/>
                <a:gd name="connsiteX49" fmla="*/ 1181040 w 9144000"/>
                <a:gd name="connsiteY49" fmla="*/ 4521814 h 6083134"/>
                <a:gd name="connsiteX50" fmla="*/ 879957 w 9144000"/>
                <a:gd name="connsiteY50" fmla="*/ 4186080 h 6083134"/>
                <a:gd name="connsiteX51" fmla="*/ 673400 w 9144000"/>
                <a:gd name="connsiteY51" fmla="*/ 3774331 h 6083134"/>
                <a:gd name="connsiteX52" fmla="*/ 641892 w 9144000"/>
                <a:gd name="connsiteY52" fmla="*/ 3315072 h 6083134"/>
                <a:gd name="connsiteX53" fmla="*/ 645393 w 9144000"/>
                <a:gd name="connsiteY53" fmla="*/ 3286567 h 6083134"/>
                <a:gd name="connsiteX54" fmla="*/ 648456 w 9144000"/>
                <a:gd name="connsiteY54" fmla="*/ 3269938 h 6083134"/>
                <a:gd name="connsiteX55" fmla="*/ 652395 w 9144000"/>
                <a:gd name="connsiteY55" fmla="*/ 3254894 h 6083134"/>
                <a:gd name="connsiteX56" fmla="*/ 655458 w 9144000"/>
                <a:gd name="connsiteY56" fmla="*/ 3246579 h 6083134"/>
                <a:gd name="connsiteX57" fmla="*/ 655896 w 9144000"/>
                <a:gd name="connsiteY57" fmla="*/ 3238265 h 6083134"/>
                <a:gd name="connsiteX58" fmla="*/ 655896 w 9144000"/>
                <a:gd name="connsiteY58" fmla="*/ 3235890 h 6083134"/>
                <a:gd name="connsiteX59" fmla="*/ 658959 w 9144000"/>
                <a:gd name="connsiteY59" fmla="*/ 3230347 h 6083134"/>
                <a:gd name="connsiteX60" fmla="*/ 666398 w 9144000"/>
                <a:gd name="connsiteY60" fmla="*/ 3207384 h 6083134"/>
                <a:gd name="connsiteX61" fmla="*/ 694406 w 9144000"/>
                <a:gd name="connsiteY61" fmla="*/ 3115533 h 6083134"/>
                <a:gd name="connsiteX62" fmla="*/ 778429 w 9144000"/>
                <a:gd name="connsiteY62" fmla="*/ 2925494 h 6083134"/>
                <a:gd name="connsiteX63" fmla="*/ 1062007 w 9144000"/>
                <a:gd name="connsiteY63" fmla="*/ 2548585 h 6083134"/>
                <a:gd name="connsiteX64" fmla="*/ 1506630 w 9144000"/>
                <a:gd name="connsiteY64" fmla="*/ 2222354 h 6083134"/>
                <a:gd name="connsiteX65" fmla="*/ 2031774 w 9144000"/>
                <a:gd name="connsiteY65" fmla="*/ 2016479 h 6083134"/>
                <a:gd name="connsiteX66" fmla="*/ 2532412 w 9144000"/>
                <a:gd name="connsiteY66" fmla="*/ 1905623 h 6083134"/>
                <a:gd name="connsiteX67" fmla="*/ 2984036 w 9144000"/>
                <a:gd name="connsiteY67" fmla="*/ 1851779 h 6083134"/>
                <a:gd name="connsiteX68" fmla="*/ 3386647 w 9144000"/>
                <a:gd name="connsiteY68" fmla="*/ 1816939 h 6083134"/>
                <a:gd name="connsiteX69" fmla="*/ 3726241 w 9144000"/>
                <a:gd name="connsiteY69" fmla="*/ 1782099 h 6083134"/>
                <a:gd name="connsiteX70" fmla="*/ 3967807 w 9144000"/>
                <a:gd name="connsiteY70" fmla="*/ 1740924 h 6083134"/>
                <a:gd name="connsiteX71" fmla="*/ 4030824 w 9144000"/>
                <a:gd name="connsiteY71" fmla="*/ 1725087 h 6083134"/>
                <a:gd name="connsiteX72" fmla="*/ 4072836 w 9144000"/>
                <a:gd name="connsiteY72" fmla="*/ 1709251 h 6083134"/>
                <a:gd name="connsiteX73" fmla="*/ 4111347 w 9144000"/>
                <a:gd name="connsiteY73" fmla="*/ 1680745 h 6083134"/>
                <a:gd name="connsiteX74" fmla="*/ 4142855 w 9144000"/>
                <a:gd name="connsiteY74" fmla="*/ 1623734 h 6083134"/>
                <a:gd name="connsiteX75" fmla="*/ 4160360 w 9144000"/>
                <a:gd name="connsiteY75" fmla="*/ 1538217 h 6083134"/>
                <a:gd name="connsiteX76" fmla="*/ 4160360 w 9144000"/>
                <a:gd name="connsiteY76" fmla="*/ 1529902 h 6083134"/>
                <a:gd name="connsiteX77" fmla="*/ 4160360 w 9144000"/>
                <a:gd name="connsiteY77" fmla="*/ 1520401 h 6083134"/>
                <a:gd name="connsiteX78" fmla="*/ 4163861 w 9144000"/>
                <a:gd name="connsiteY78" fmla="*/ 1516046 h 6083134"/>
                <a:gd name="connsiteX79" fmla="*/ 4163861 w 9144000"/>
                <a:gd name="connsiteY79" fmla="*/ 1497042 h 6083134"/>
                <a:gd name="connsiteX80" fmla="*/ 4139354 w 9144000"/>
                <a:gd name="connsiteY80" fmla="*/ 1452700 h 6083134"/>
                <a:gd name="connsiteX81" fmla="*/ 4072836 w 9144000"/>
                <a:gd name="connsiteY81" fmla="*/ 1392521 h 6083134"/>
                <a:gd name="connsiteX82" fmla="*/ 3852275 w 9144000"/>
                <a:gd name="connsiteY82" fmla="*/ 1259494 h 6083134"/>
                <a:gd name="connsiteX83" fmla="*/ 3558194 w 9144000"/>
                <a:gd name="connsiteY83" fmla="*/ 1132802 h 6083134"/>
                <a:gd name="connsiteX84" fmla="*/ 3232605 w 9144000"/>
                <a:gd name="connsiteY84" fmla="*/ 1018779 h 6083134"/>
                <a:gd name="connsiteX85" fmla="*/ 2528911 w 9144000"/>
                <a:gd name="connsiteY85" fmla="*/ 825574 h 6083134"/>
                <a:gd name="connsiteX86" fmla="*/ 1030499 w 9144000"/>
                <a:gd name="connsiteY86" fmla="*/ 515179 h 6083134"/>
                <a:gd name="connsiteX87" fmla="*/ 0 w 9144000"/>
                <a:gd name="connsiteY87" fmla="*/ 348488 h 6083134"/>
                <a:gd name="connsiteX88" fmla="*/ 0 w 9144000"/>
                <a:gd name="connsiteY88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72084 h 6083134"/>
                <a:gd name="connsiteX30" fmla="*/ 2525410 w 9144000"/>
                <a:gd name="connsiteY30" fmla="*/ 3380398 h 6083134"/>
                <a:gd name="connsiteX31" fmla="*/ 2525410 w 9144000"/>
                <a:gd name="connsiteY31" fmla="*/ 3384753 h 6083134"/>
                <a:gd name="connsiteX32" fmla="*/ 2525410 w 9144000"/>
                <a:gd name="connsiteY32" fmla="*/ 3394255 h 6083134"/>
                <a:gd name="connsiteX33" fmla="*/ 2528911 w 9144000"/>
                <a:gd name="connsiteY33" fmla="*/ 3399797 h 6083134"/>
                <a:gd name="connsiteX34" fmla="*/ 2563921 w 9144000"/>
                <a:gd name="connsiteY34" fmla="*/ 3470270 h 6083134"/>
                <a:gd name="connsiteX35" fmla="*/ 2640942 w 9144000"/>
                <a:gd name="connsiteY35" fmla="*/ 3558954 h 6083134"/>
                <a:gd name="connsiteX36" fmla="*/ 2977035 w 9144000"/>
                <a:gd name="connsiteY36" fmla="*/ 3787000 h 6083134"/>
                <a:gd name="connsiteX37" fmla="*/ 3491676 w 9144000"/>
                <a:gd name="connsiteY37" fmla="*/ 4018213 h 6083134"/>
                <a:gd name="connsiteX38" fmla="*/ 4104345 w 9144000"/>
                <a:gd name="connsiteY38" fmla="*/ 4230422 h 6083134"/>
                <a:gd name="connsiteX39" fmla="*/ 4769528 w 9144000"/>
                <a:gd name="connsiteY39" fmla="*/ 4414126 h 6083134"/>
                <a:gd name="connsiteX40" fmla="*/ 6183917 w 9144000"/>
                <a:gd name="connsiteY40" fmla="*/ 4727688 h 6083134"/>
                <a:gd name="connsiteX41" fmla="*/ 7661324 w 9144000"/>
                <a:gd name="connsiteY41" fmla="*/ 4977905 h 6083134"/>
                <a:gd name="connsiteX42" fmla="*/ 9144000 w 9144000"/>
                <a:gd name="connsiteY42" fmla="*/ 5180860 h 6083134"/>
                <a:gd name="connsiteX43" fmla="*/ 9144000 w 9144000"/>
                <a:gd name="connsiteY43" fmla="*/ 6083134 h 6083134"/>
                <a:gd name="connsiteX44" fmla="*/ 4375201 w 9144000"/>
                <a:gd name="connsiteY44" fmla="*/ 6083134 h 6083134"/>
                <a:gd name="connsiteX45" fmla="*/ 3764751 w 9144000"/>
                <a:gd name="connsiteY45" fmla="*/ 5874251 h 6083134"/>
                <a:gd name="connsiteX46" fmla="*/ 3001541 w 9144000"/>
                <a:gd name="connsiteY46" fmla="*/ 5582860 h 6083134"/>
                <a:gd name="connsiteX47" fmla="*/ 2252335 w 9144000"/>
                <a:gd name="connsiteY47" fmla="*/ 5234456 h 6083134"/>
                <a:gd name="connsiteX48" fmla="*/ 1524135 w 9144000"/>
                <a:gd name="connsiteY48" fmla="*/ 4797369 h 6083134"/>
                <a:gd name="connsiteX49" fmla="*/ 1181040 w 9144000"/>
                <a:gd name="connsiteY49" fmla="*/ 4521814 h 6083134"/>
                <a:gd name="connsiteX50" fmla="*/ 879957 w 9144000"/>
                <a:gd name="connsiteY50" fmla="*/ 4186080 h 6083134"/>
                <a:gd name="connsiteX51" fmla="*/ 673400 w 9144000"/>
                <a:gd name="connsiteY51" fmla="*/ 3774331 h 6083134"/>
                <a:gd name="connsiteX52" fmla="*/ 641892 w 9144000"/>
                <a:gd name="connsiteY52" fmla="*/ 3315072 h 6083134"/>
                <a:gd name="connsiteX53" fmla="*/ 645393 w 9144000"/>
                <a:gd name="connsiteY53" fmla="*/ 3286567 h 6083134"/>
                <a:gd name="connsiteX54" fmla="*/ 648456 w 9144000"/>
                <a:gd name="connsiteY54" fmla="*/ 3269938 h 6083134"/>
                <a:gd name="connsiteX55" fmla="*/ 652395 w 9144000"/>
                <a:gd name="connsiteY55" fmla="*/ 3254894 h 6083134"/>
                <a:gd name="connsiteX56" fmla="*/ 655458 w 9144000"/>
                <a:gd name="connsiteY56" fmla="*/ 3246579 h 6083134"/>
                <a:gd name="connsiteX57" fmla="*/ 655896 w 9144000"/>
                <a:gd name="connsiteY57" fmla="*/ 3238265 h 6083134"/>
                <a:gd name="connsiteX58" fmla="*/ 655896 w 9144000"/>
                <a:gd name="connsiteY58" fmla="*/ 3235890 h 6083134"/>
                <a:gd name="connsiteX59" fmla="*/ 658959 w 9144000"/>
                <a:gd name="connsiteY59" fmla="*/ 3230347 h 6083134"/>
                <a:gd name="connsiteX60" fmla="*/ 666398 w 9144000"/>
                <a:gd name="connsiteY60" fmla="*/ 3207384 h 6083134"/>
                <a:gd name="connsiteX61" fmla="*/ 694406 w 9144000"/>
                <a:gd name="connsiteY61" fmla="*/ 3115533 h 6083134"/>
                <a:gd name="connsiteX62" fmla="*/ 778429 w 9144000"/>
                <a:gd name="connsiteY62" fmla="*/ 2925494 h 6083134"/>
                <a:gd name="connsiteX63" fmla="*/ 1062007 w 9144000"/>
                <a:gd name="connsiteY63" fmla="*/ 2548585 h 6083134"/>
                <a:gd name="connsiteX64" fmla="*/ 1506630 w 9144000"/>
                <a:gd name="connsiteY64" fmla="*/ 2222354 h 6083134"/>
                <a:gd name="connsiteX65" fmla="*/ 2031774 w 9144000"/>
                <a:gd name="connsiteY65" fmla="*/ 2016479 h 6083134"/>
                <a:gd name="connsiteX66" fmla="*/ 2532412 w 9144000"/>
                <a:gd name="connsiteY66" fmla="*/ 1905623 h 6083134"/>
                <a:gd name="connsiteX67" fmla="*/ 2984036 w 9144000"/>
                <a:gd name="connsiteY67" fmla="*/ 1851779 h 6083134"/>
                <a:gd name="connsiteX68" fmla="*/ 3386647 w 9144000"/>
                <a:gd name="connsiteY68" fmla="*/ 1816939 h 6083134"/>
                <a:gd name="connsiteX69" fmla="*/ 3726241 w 9144000"/>
                <a:gd name="connsiteY69" fmla="*/ 1782099 h 6083134"/>
                <a:gd name="connsiteX70" fmla="*/ 3967807 w 9144000"/>
                <a:gd name="connsiteY70" fmla="*/ 1740924 h 6083134"/>
                <a:gd name="connsiteX71" fmla="*/ 4030824 w 9144000"/>
                <a:gd name="connsiteY71" fmla="*/ 1725087 h 6083134"/>
                <a:gd name="connsiteX72" fmla="*/ 4072836 w 9144000"/>
                <a:gd name="connsiteY72" fmla="*/ 1709251 h 6083134"/>
                <a:gd name="connsiteX73" fmla="*/ 4111347 w 9144000"/>
                <a:gd name="connsiteY73" fmla="*/ 1680745 h 6083134"/>
                <a:gd name="connsiteX74" fmla="*/ 4142855 w 9144000"/>
                <a:gd name="connsiteY74" fmla="*/ 1623734 h 6083134"/>
                <a:gd name="connsiteX75" fmla="*/ 4160360 w 9144000"/>
                <a:gd name="connsiteY75" fmla="*/ 1538217 h 6083134"/>
                <a:gd name="connsiteX76" fmla="*/ 4160360 w 9144000"/>
                <a:gd name="connsiteY76" fmla="*/ 1520401 h 6083134"/>
                <a:gd name="connsiteX77" fmla="*/ 4163861 w 9144000"/>
                <a:gd name="connsiteY77" fmla="*/ 1516046 h 6083134"/>
                <a:gd name="connsiteX78" fmla="*/ 4163861 w 9144000"/>
                <a:gd name="connsiteY78" fmla="*/ 1497042 h 6083134"/>
                <a:gd name="connsiteX79" fmla="*/ 4139354 w 9144000"/>
                <a:gd name="connsiteY79" fmla="*/ 1452700 h 6083134"/>
                <a:gd name="connsiteX80" fmla="*/ 4072836 w 9144000"/>
                <a:gd name="connsiteY80" fmla="*/ 1392521 h 6083134"/>
                <a:gd name="connsiteX81" fmla="*/ 3852275 w 9144000"/>
                <a:gd name="connsiteY81" fmla="*/ 1259494 h 6083134"/>
                <a:gd name="connsiteX82" fmla="*/ 3558194 w 9144000"/>
                <a:gd name="connsiteY82" fmla="*/ 1132802 h 6083134"/>
                <a:gd name="connsiteX83" fmla="*/ 3232605 w 9144000"/>
                <a:gd name="connsiteY83" fmla="*/ 1018779 h 6083134"/>
                <a:gd name="connsiteX84" fmla="*/ 2528911 w 9144000"/>
                <a:gd name="connsiteY84" fmla="*/ 825574 h 6083134"/>
                <a:gd name="connsiteX85" fmla="*/ 1030499 w 9144000"/>
                <a:gd name="connsiteY85" fmla="*/ 515179 h 6083134"/>
                <a:gd name="connsiteX86" fmla="*/ 0 w 9144000"/>
                <a:gd name="connsiteY86" fmla="*/ 348488 h 6083134"/>
                <a:gd name="connsiteX87" fmla="*/ 0 w 9144000"/>
                <a:gd name="connsiteY87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72084 h 6083134"/>
                <a:gd name="connsiteX30" fmla="*/ 2525410 w 9144000"/>
                <a:gd name="connsiteY30" fmla="*/ 3380398 h 6083134"/>
                <a:gd name="connsiteX31" fmla="*/ 2525410 w 9144000"/>
                <a:gd name="connsiteY31" fmla="*/ 3384753 h 6083134"/>
                <a:gd name="connsiteX32" fmla="*/ 2525410 w 9144000"/>
                <a:gd name="connsiteY32" fmla="*/ 3394255 h 6083134"/>
                <a:gd name="connsiteX33" fmla="*/ 2528911 w 9144000"/>
                <a:gd name="connsiteY33" fmla="*/ 3399797 h 6083134"/>
                <a:gd name="connsiteX34" fmla="*/ 2563921 w 9144000"/>
                <a:gd name="connsiteY34" fmla="*/ 3470270 h 6083134"/>
                <a:gd name="connsiteX35" fmla="*/ 2640942 w 9144000"/>
                <a:gd name="connsiteY35" fmla="*/ 3558954 h 6083134"/>
                <a:gd name="connsiteX36" fmla="*/ 2977035 w 9144000"/>
                <a:gd name="connsiteY36" fmla="*/ 3787000 h 6083134"/>
                <a:gd name="connsiteX37" fmla="*/ 3491676 w 9144000"/>
                <a:gd name="connsiteY37" fmla="*/ 4018213 h 6083134"/>
                <a:gd name="connsiteX38" fmla="*/ 4104345 w 9144000"/>
                <a:gd name="connsiteY38" fmla="*/ 4230422 h 6083134"/>
                <a:gd name="connsiteX39" fmla="*/ 4769528 w 9144000"/>
                <a:gd name="connsiteY39" fmla="*/ 4414126 h 6083134"/>
                <a:gd name="connsiteX40" fmla="*/ 6183917 w 9144000"/>
                <a:gd name="connsiteY40" fmla="*/ 4727688 h 6083134"/>
                <a:gd name="connsiteX41" fmla="*/ 7661324 w 9144000"/>
                <a:gd name="connsiteY41" fmla="*/ 4977905 h 6083134"/>
                <a:gd name="connsiteX42" fmla="*/ 9144000 w 9144000"/>
                <a:gd name="connsiteY42" fmla="*/ 5180860 h 6083134"/>
                <a:gd name="connsiteX43" fmla="*/ 9144000 w 9144000"/>
                <a:gd name="connsiteY43" fmla="*/ 6083134 h 6083134"/>
                <a:gd name="connsiteX44" fmla="*/ 4375201 w 9144000"/>
                <a:gd name="connsiteY44" fmla="*/ 6083134 h 6083134"/>
                <a:gd name="connsiteX45" fmla="*/ 3764751 w 9144000"/>
                <a:gd name="connsiteY45" fmla="*/ 5874251 h 6083134"/>
                <a:gd name="connsiteX46" fmla="*/ 3001541 w 9144000"/>
                <a:gd name="connsiteY46" fmla="*/ 5582860 h 6083134"/>
                <a:gd name="connsiteX47" fmla="*/ 2252335 w 9144000"/>
                <a:gd name="connsiteY47" fmla="*/ 5234456 h 6083134"/>
                <a:gd name="connsiteX48" fmla="*/ 1524135 w 9144000"/>
                <a:gd name="connsiteY48" fmla="*/ 4797369 h 6083134"/>
                <a:gd name="connsiteX49" fmla="*/ 1181040 w 9144000"/>
                <a:gd name="connsiteY49" fmla="*/ 4521814 h 6083134"/>
                <a:gd name="connsiteX50" fmla="*/ 879957 w 9144000"/>
                <a:gd name="connsiteY50" fmla="*/ 4186080 h 6083134"/>
                <a:gd name="connsiteX51" fmla="*/ 673400 w 9144000"/>
                <a:gd name="connsiteY51" fmla="*/ 3774331 h 6083134"/>
                <a:gd name="connsiteX52" fmla="*/ 641892 w 9144000"/>
                <a:gd name="connsiteY52" fmla="*/ 3315072 h 6083134"/>
                <a:gd name="connsiteX53" fmla="*/ 645393 w 9144000"/>
                <a:gd name="connsiteY53" fmla="*/ 3286567 h 6083134"/>
                <a:gd name="connsiteX54" fmla="*/ 648456 w 9144000"/>
                <a:gd name="connsiteY54" fmla="*/ 3269938 h 6083134"/>
                <a:gd name="connsiteX55" fmla="*/ 652395 w 9144000"/>
                <a:gd name="connsiteY55" fmla="*/ 3254894 h 6083134"/>
                <a:gd name="connsiteX56" fmla="*/ 655458 w 9144000"/>
                <a:gd name="connsiteY56" fmla="*/ 3246579 h 6083134"/>
                <a:gd name="connsiteX57" fmla="*/ 655896 w 9144000"/>
                <a:gd name="connsiteY57" fmla="*/ 3238265 h 6083134"/>
                <a:gd name="connsiteX58" fmla="*/ 655896 w 9144000"/>
                <a:gd name="connsiteY58" fmla="*/ 3235890 h 6083134"/>
                <a:gd name="connsiteX59" fmla="*/ 658959 w 9144000"/>
                <a:gd name="connsiteY59" fmla="*/ 3230347 h 6083134"/>
                <a:gd name="connsiteX60" fmla="*/ 666398 w 9144000"/>
                <a:gd name="connsiteY60" fmla="*/ 3207384 h 6083134"/>
                <a:gd name="connsiteX61" fmla="*/ 694406 w 9144000"/>
                <a:gd name="connsiteY61" fmla="*/ 3115533 h 6083134"/>
                <a:gd name="connsiteX62" fmla="*/ 778429 w 9144000"/>
                <a:gd name="connsiteY62" fmla="*/ 2925494 h 6083134"/>
                <a:gd name="connsiteX63" fmla="*/ 1062007 w 9144000"/>
                <a:gd name="connsiteY63" fmla="*/ 2548585 h 6083134"/>
                <a:gd name="connsiteX64" fmla="*/ 1506630 w 9144000"/>
                <a:gd name="connsiteY64" fmla="*/ 2222354 h 6083134"/>
                <a:gd name="connsiteX65" fmla="*/ 2031774 w 9144000"/>
                <a:gd name="connsiteY65" fmla="*/ 2016479 h 6083134"/>
                <a:gd name="connsiteX66" fmla="*/ 2532412 w 9144000"/>
                <a:gd name="connsiteY66" fmla="*/ 1905623 h 6083134"/>
                <a:gd name="connsiteX67" fmla="*/ 2984036 w 9144000"/>
                <a:gd name="connsiteY67" fmla="*/ 1851779 h 6083134"/>
                <a:gd name="connsiteX68" fmla="*/ 3386647 w 9144000"/>
                <a:gd name="connsiteY68" fmla="*/ 1816939 h 6083134"/>
                <a:gd name="connsiteX69" fmla="*/ 3726241 w 9144000"/>
                <a:gd name="connsiteY69" fmla="*/ 1782099 h 6083134"/>
                <a:gd name="connsiteX70" fmla="*/ 3967807 w 9144000"/>
                <a:gd name="connsiteY70" fmla="*/ 1740924 h 6083134"/>
                <a:gd name="connsiteX71" fmla="*/ 4030824 w 9144000"/>
                <a:gd name="connsiteY71" fmla="*/ 1725087 h 6083134"/>
                <a:gd name="connsiteX72" fmla="*/ 4072836 w 9144000"/>
                <a:gd name="connsiteY72" fmla="*/ 1709251 h 6083134"/>
                <a:gd name="connsiteX73" fmla="*/ 4111347 w 9144000"/>
                <a:gd name="connsiteY73" fmla="*/ 1680745 h 6083134"/>
                <a:gd name="connsiteX74" fmla="*/ 4142855 w 9144000"/>
                <a:gd name="connsiteY74" fmla="*/ 1623734 h 6083134"/>
                <a:gd name="connsiteX75" fmla="*/ 4160360 w 9144000"/>
                <a:gd name="connsiteY75" fmla="*/ 1538217 h 6083134"/>
                <a:gd name="connsiteX76" fmla="*/ 4160360 w 9144000"/>
                <a:gd name="connsiteY76" fmla="*/ 1520401 h 6083134"/>
                <a:gd name="connsiteX77" fmla="*/ 4163861 w 9144000"/>
                <a:gd name="connsiteY77" fmla="*/ 1497042 h 6083134"/>
                <a:gd name="connsiteX78" fmla="*/ 4139354 w 9144000"/>
                <a:gd name="connsiteY78" fmla="*/ 1452700 h 6083134"/>
                <a:gd name="connsiteX79" fmla="*/ 4072836 w 9144000"/>
                <a:gd name="connsiteY79" fmla="*/ 1392521 h 6083134"/>
                <a:gd name="connsiteX80" fmla="*/ 3852275 w 9144000"/>
                <a:gd name="connsiteY80" fmla="*/ 1259494 h 6083134"/>
                <a:gd name="connsiteX81" fmla="*/ 3558194 w 9144000"/>
                <a:gd name="connsiteY81" fmla="*/ 1132802 h 6083134"/>
                <a:gd name="connsiteX82" fmla="*/ 3232605 w 9144000"/>
                <a:gd name="connsiteY82" fmla="*/ 1018779 h 6083134"/>
                <a:gd name="connsiteX83" fmla="*/ 2528911 w 9144000"/>
                <a:gd name="connsiteY83" fmla="*/ 825574 h 6083134"/>
                <a:gd name="connsiteX84" fmla="*/ 1030499 w 9144000"/>
                <a:gd name="connsiteY84" fmla="*/ 515179 h 6083134"/>
                <a:gd name="connsiteX85" fmla="*/ 0 w 9144000"/>
                <a:gd name="connsiteY85" fmla="*/ 348488 h 6083134"/>
                <a:gd name="connsiteX86" fmla="*/ 0 w 9144000"/>
                <a:gd name="connsiteY86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72084 h 6083134"/>
                <a:gd name="connsiteX30" fmla="*/ 2525410 w 9144000"/>
                <a:gd name="connsiteY30" fmla="*/ 3380398 h 6083134"/>
                <a:gd name="connsiteX31" fmla="*/ 2525410 w 9144000"/>
                <a:gd name="connsiteY31" fmla="*/ 3384753 h 6083134"/>
                <a:gd name="connsiteX32" fmla="*/ 2525410 w 9144000"/>
                <a:gd name="connsiteY32" fmla="*/ 3394255 h 6083134"/>
                <a:gd name="connsiteX33" fmla="*/ 2528911 w 9144000"/>
                <a:gd name="connsiteY33" fmla="*/ 3399797 h 6083134"/>
                <a:gd name="connsiteX34" fmla="*/ 2563921 w 9144000"/>
                <a:gd name="connsiteY34" fmla="*/ 3470270 h 6083134"/>
                <a:gd name="connsiteX35" fmla="*/ 2640942 w 9144000"/>
                <a:gd name="connsiteY35" fmla="*/ 3558954 h 6083134"/>
                <a:gd name="connsiteX36" fmla="*/ 2977035 w 9144000"/>
                <a:gd name="connsiteY36" fmla="*/ 3787000 h 6083134"/>
                <a:gd name="connsiteX37" fmla="*/ 3491676 w 9144000"/>
                <a:gd name="connsiteY37" fmla="*/ 4018213 h 6083134"/>
                <a:gd name="connsiteX38" fmla="*/ 4104345 w 9144000"/>
                <a:gd name="connsiteY38" fmla="*/ 4230422 h 6083134"/>
                <a:gd name="connsiteX39" fmla="*/ 4769528 w 9144000"/>
                <a:gd name="connsiteY39" fmla="*/ 4414126 h 6083134"/>
                <a:gd name="connsiteX40" fmla="*/ 6183917 w 9144000"/>
                <a:gd name="connsiteY40" fmla="*/ 4727688 h 6083134"/>
                <a:gd name="connsiteX41" fmla="*/ 7661324 w 9144000"/>
                <a:gd name="connsiteY41" fmla="*/ 4977905 h 6083134"/>
                <a:gd name="connsiteX42" fmla="*/ 9144000 w 9144000"/>
                <a:gd name="connsiteY42" fmla="*/ 5180860 h 6083134"/>
                <a:gd name="connsiteX43" fmla="*/ 9144000 w 9144000"/>
                <a:gd name="connsiteY43" fmla="*/ 6083134 h 6083134"/>
                <a:gd name="connsiteX44" fmla="*/ 4375201 w 9144000"/>
                <a:gd name="connsiteY44" fmla="*/ 6083134 h 6083134"/>
                <a:gd name="connsiteX45" fmla="*/ 3764751 w 9144000"/>
                <a:gd name="connsiteY45" fmla="*/ 5874251 h 6083134"/>
                <a:gd name="connsiteX46" fmla="*/ 3001541 w 9144000"/>
                <a:gd name="connsiteY46" fmla="*/ 5582860 h 6083134"/>
                <a:gd name="connsiteX47" fmla="*/ 2252335 w 9144000"/>
                <a:gd name="connsiteY47" fmla="*/ 5234456 h 6083134"/>
                <a:gd name="connsiteX48" fmla="*/ 1524135 w 9144000"/>
                <a:gd name="connsiteY48" fmla="*/ 4797369 h 6083134"/>
                <a:gd name="connsiteX49" fmla="*/ 1181040 w 9144000"/>
                <a:gd name="connsiteY49" fmla="*/ 4521814 h 6083134"/>
                <a:gd name="connsiteX50" fmla="*/ 879957 w 9144000"/>
                <a:gd name="connsiteY50" fmla="*/ 4186080 h 6083134"/>
                <a:gd name="connsiteX51" fmla="*/ 673400 w 9144000"/>
                <a:gd name="connsiteY51" fmla="*/ 3774331 h 6083134"/>
                <a:gd name="connsiteX52" fmla="*/ 641892 w 9144000"/>
                <a:gd name="connsiteY52" fmla="*/ 3315072 h 6083134"/>
                <a:gd name="connsiteX53" fmla="*/ 645393 w 9144000"/>
                <a:gd name="connsiteY53" fmla="*/ 3286567 h 6083134"/>
                <a:gd name="connsiteX54" fmla="*/ 648456 w 9144000"/>
                <a:gd name="connsiteY54" fmla="*/ 3269938 h 6083134"/>
                <a:gd name="connsiteX55" fmla="*/ 652395 w 9144000"/>
                <a:gd name="connsiteY55" fmla="*/ 3254894 h 6083134"/>
                <a:gd name="connsiteX56" fmla="*/ 655458 w 9144000"/>
                <a:gd name="connsiteY56" fmla="*/ 3246579 h 6083134"/>
                <a:gd name="connsiteX57" fmla="*/ 655896 w 9144000"/>
                <a:gd name="connsiteY57" fmla="*/ 3238265 h 6083134"/>
                <a:gd name="connsiteX58" fmla="*/ 655896 w 9144000"/>
                <a:gd name="connsiteY58" fmla="*/ 3235890 h 6083134"/>
                <a:gd name="connsiteX59" fmla="*/ 658959 w 9144000"/>
                <a:gd name="connsiteY59" fmla="*/ 3230347 h 6083134"/>
                <a:gd name="connsiteX60" fmla="*/ 666398 w 9144000"/>
                <a:gd name="connsiteY60" fmla="*/ 3207384 h 6083134"/>
                <a:gd name="connsiteX61" fmla="*/ 694406 w 9144000"/>
                <a:gd name="connsiteY61" fmla="*/ 3115533 h 6083134"/>
                <a:gd name="connsiteX62" fmla="*/ 778429 w 9144000"/>
                <a:gd name="connsiteY62" fmla="*/ 2925494 h 6083134"/>
                <a:gd name="connsiteX63" fmla="*/ 1062007 w 9144000"/>
                <a:gd name="connsiteY63" fmla="*/ 2548585 h 6083134"/>
                <a:gd name="connsiteX64" fmla="*/ 1506630 w 9144000"/>
                <a:gd name="connsiteY64" fmla="*/ 2222354 h 6083134"/>
                <a:gd name="connsiteX65" fmla="*/ 2031774 w 9144000"/>
                <a:gd name="connsiteY65" fmla="*/ 2016479 h 6083134"/>
                <a:gd name="connsiteX66" fmla="*/ 2532412 w 9144000"/>
                <a:gd name="connsiteY66" fmla="*/ 1905623 h 6083134"/>
                <a:gd name="connsiteX67" fmla="*/ 2984036 w 9144000"/>
                <a:gd name="connsiteY67" fmla="*/ 1851779 h 6083134"/>
                <a:gd name="connsiteX68" fmla="*/ 3386647 w 9144000"/>
                <a:gd name="connsiteY68" fmla="*/ 1816939 h 6083134"/>
                <a:gd name="connsiteX69" fmla="*/ 3726241 w 9144000"/>
                <a:gd name="connsiteY69" fmla="*/ 1782099 h 6083134"/>
                <a:gd name="connsiteX70" fmla="*/ 3967807 w 9144000"/>
                <a:gd name="connsiteY70" fmla="*/ 1740924 h 6083134"/>
                <a:gd name="connsiteX71" fmla="*/ 4030824 w 9144000"/>
                <a:gd name="connsiteY71" fmla="*/ 1725087 h 6083134"/>
                <a:gd name="connsiteX72" fmla="*/ 4072836 w 9144000"/>
                <a:gd name="connsiteY72" fmla="*/ 1709251 h 6083134"/>
                <a:gd name="connsiteX73" fmla="*/ 4111347 w 9144000"/>
                <a:gd name="connsiteY73" fmla="*/ 1680745 h 6083134"/>
                <a:gd name="connsiteX74" fmla="*/ 4142855 w 9144000"/>
                <a:gd name="connsiteY74" fmla="*/ 1623734 h 6083134"/>
                <a:gd name="connsiteX75" fmla="*/ 4160360 w 9144000"/>
                <a:gd name="connsiteY75" fmla="*/ 1538217 h 6083134"/>
                <a:gd name="connsiteX76" fmla="*/ 4163861 w 9144000"/>
                <a:gd name="connsiteY76" fmla="*/ 1497042 h 6083134"/>
                <a:gd name="connsiteX77" fmla="*/ 4139354 w 9144000"/>
                <a:gd name="connsiteY77" fmla="*/ 1452700 h 6083134"/>
                <a:gd name="connsiteX78" fmla="*/ 4072836 w 9144000"/>
                <a:gd name="connsiteY78" fmla="*/ 1392521 h 6083134"/>
                <a:gd name="connsiteX79" fmla="*/ 3852275 w 9144000"/>
                <a:gd name="connsiteY79" fmla="*/ 1259494 h 6083134"/>
                <a:gd name="connsiteX80" fmla="*/ 3558194 w 9144000"/>
                <a:gd name="connsiteY80" fmla="*/ 1132802 h 6083134"/>
                <a:gd name="connsiteX81" fmla="*/ 3232605 w 9144000"/>
                <a:gd name="connsiteY81" fmla="*/ 1018779 h 6083134"/>
                <a:gd name="connsiteX82" fmla="*/ 2528911 w 9144000"/>
                <a:gd name="connsiteY82" fmla="*/ 825574 h 6083134"/>
                <a:gd name="connsiteX83" fmla="*/ 1030499 w 9144000"/>
                <a:gd name="connsiteY83" fmla="*/ 515179 h 6083134"/>
                <a:gd name="connsiteX84" fmla="*/ 0 w 9144000"/>
                <a:gd name="connsiteY84" fmla="*/ 348488 h 6083134"/>
                <a:gd name="connsiteX85" fmla="*/ 0 w 9144000"/>
                <a:gd name="connsiteY85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72084 h 6083134"/>
                <a:gd name="connsiteX30" fmla="*/ 2525410 w 9144000"/>
                <a:gd name="connsiteY30" fmla="*/ 3380398 h 6083134"/>
                <a:gd name="connsiteX31" fmla="*/ 2525410 w 9144000"/>
                <a:gd name="connsiteY31" fmla="*/ 3384753 h 6083134"/>
                <a:gd name="connsiteX32" fmla="*/ 2525410 w 9144000"/>
                <a:gd name="connsiteY32" fmla="*/ 3394255 h 6083134"/>
                <a:gd name="connsiteX33" fmla="*/ 2528911 w 9144000"/>
                <a:gd name="connsiteY33" fmla="*/ 3399797 h 6083134"/>
                <a:gd name="connsiteX34" fmla="*/ 2563921 w 9144000"/>
                <a:gd name="connsiteY34" fmla="*/ 3470270 h 6083134"/>
                <a:gd name="connsiteX35" fmla="*/ 2640942 w 9144000"/>
                <a:gd name="connsiteY35" fmla="*/ 3558954 h 6083134"/>
                <a:gd name="connsiteX36" fmla="*/ 2977035 w 9144000"/>
                <a:gd name="connsiteY36" fmla="*/ 3787000 h 6083134"/>
                <a:gd name="connsiteX37" fmla="*/ 3491676 w 9144000"/>
                <a:gd name="connsiteY37" fmla="*/ 4018213 h 6083134"/>
                <a:gd name="connsiteX38" fmla="*/ 4104345 w 9144000"/>
                <a:gd name="connsiteY38" fmla="*/ 4230422 h 6083134"/>
                <a:gd name="connsiteX39" fmla="*/ 4769528 w 9144000"/>
                <a:gd name="connsiteY39" fmla="*/ 4414126 h 6083134"/>
                <a:gd name="connsiteX40" fmla="*/ 6183917 w 9144000"/>
                <a:gd name="connsiteY40" fmla="*/ 4727688 h 6083134"/>
                <a:gd name="connsiteX41" fmla="*/ 7661324 w 9144000"/>
                <a:gd name="connsiteY41" fmla="*/ 4977905 h 6083134"/>
                <a:gd name="connsiteX42" fmla="*/ 9144000 w 9144000"/>
                <a:gd name="connsiteY42" fmla="*/ 5180860 h 6083134"/>
                <a:gd name="connsiteX43" fmla="*/ 9144000 w 9144000"/>
                <a:gd name="connsiteY43" fmla="*/ 6083134 h 6083134"/>
                <a:gd name="connsiteX44" fmla="*/ 4375201 w 9144000"/>
                <a:gd name="connsiteY44" fmla="*/ 6083134 h 6083134"/>
                <a:gd name="connsiteX45" fmla="*/ 3764751 w 9144000"/>
                <a:gd name="connsiteY45" fmla="*/ 5874251 h 6083134"/>
                <a:gd name="connsiteX46" fmla="*/ 3001541 w 9144000"/>
                <a:gd name="connsiteY46" fmla="*/ 5582860 h 6083134"/>
                <a:gd name="connsiteX47" fmla="*/ 2252335 w 9144000"/>
                <a:gd name="connsiteY47" fmla="*/ 5234456 h 6083134"/>
                <a:gd name="connsiteX48" fmla="*/ 1524135 w 9144000"/>
                <a:gd name="connsiteY48" fmla="*/ 4797369 h 6083134"/>
                <a:gd name="connsiteX49" fmla="*/ 1181040 w 9144000"/>
                <a:gd name="connsiteY49" fmla="*/ 4521814 h 6083134"/>
                <a:gd name="connsiteX50" fmla="*/ 879957 w 9144000"/>
                <a:gd name="connsiteY50" fmla="*/ 4186080 h 6083134"/>
                <a:gd name="connsiteX51" fmla="*/ 673400 w 9144000"/>
                <a:gd name="connsiteY51" fmla="*/ 3774331 h 6083134"/>
                <a:gd name="connsiteX52" fmla="*/ 641892 w 9144000"/>
                <a:gd name="connsiteY52" fmla="*/ 3315072 h 6083134"/>
                <a:gd name="connsiteX53" fmla="*/ 645393 w 9144000"/>
                <a:gd name="connsiteY53" fmla="*/ 3286567 h 6083134"/>
                <a:gd name="connsiteX54" fmla="*/ 648456 w 9144000"/>
                <a:gd name="connsiteY54" fmla="*/ 3269938 h 6083134"/>
                <a:gd name="connsiteX55" fmla="*/ 652395 w 9144000"/>
                <a:gd name="connsiteY55" fmla="*/ 3254894 h 6083134"/>
                <a:gd name="connsiteX56" fmla="*/ 655458 w 9144000"/>
                <a:gd name="connsiteY56" fmla="*/ 3246579 h 6083134"/>
                <a:gd name="connsiteX57" fmla="*/ 655896 w 9144000"/>
                <a:gd name="connsiteY57" fmla="*/ 3238265 h 6083134"/>
                <a:gd name="connsiteX58" fmla="*/ 655896 w 9144000"/>
                <a:gd name="connsiteY58" fmla="*/ 3235890 h 6083134"/>
                <a:gd name="connsiteX59" fmla="*/ 658959 w 9144000"/>
                <a:gd name="connsiteY59" fmla="*/ 3230347 h 6083134"/>
                <a:gd name="connsiteX60" fmla="*/ 666398 w 9144000"/>
                <a:gd name="connsiteY60" fmla="*/ 3207384 h 6083134"/>
                <a:gd name="connsiteX61" fmla="*/ 694406 w 9144000"/>
                <a:gd name="connsiteY61" fmla="*/ 3115533 h 6083134"/>
                <a:gd name="connsiteX62" fmla="*/ 778429 w 9144000"/>
                <a:gd name="connsiteY62" fmla="*/ 2925494 h 6083134"/>
                <a:gd name="connsiteX63" fmla="*/ 1062007 w 9144000"/>
                <a:gd name="connsiteY63" fmla="*/ 2548585 h 6083134"/>
                <a:gd name="connsiteX64" fmla="*/ 1506630 w 9144000"/>
                <a:gd name="connsiteY64" fmla="*/ 2222354 h 6083134"/>
                <a:gd name="connsiteX65" fmla="*/ 2031774 w 9144000"/>
                <a:gd name="connsiteY65" fmla="*/ 2016479 h 6083134"/>
                <a:gd name="connsiteX66" fmla="*/ 2532412 w 9144000"/>
                <a:gd name="connsiteY66" fmla="*/ 1905623 h 6083134"/>
                <a:gd name="connsiteX67" fmla="*/ 2984036 w 9144000"/>
                <a:gd name="connsiteY67" fmla="*/ 1851779 h 6083134"/>
                <a:gd name="connsiteX68" fmla="*/ 3386647 w 9144000"/>
                <a:gd name="connsiteY68" fmla="*/ 1816939 h 6083134"/>
                <a:gd name="connsiteX69" fmla="*/ 3726241 w 9144000"/>
                <a:gd name="connsiteY69" fmla="*/ 1782099 h 6083134"/>
                <a:gd name="connsiteX70" fmla="*/ 3967807 w 9144000"/>
                <a:gd name="connsiteY70" fmla="*/ 1740924 h 6083134"/>
                <a:gd name="connsiteX71" fmla="*/ 4030824 w 9144000"/>
                <a:gd name="connsiteY71" fmla="*/ 1725087 h 6083134"/>
                <a:gd name="connsiteX72" fmla="*/ 4072836 w 9144000"/>
                <a:gd name="connsiteY72" fmla="*/ 1709251 h 6083134"/>
                <a:gd name="connsiteX73" fmla="*/ 4111347 w 9144000"/>
                <a:gd name="connsiteY73" fmla="*/ 1680745 h 6083134"/>
                <a:gd name="connsiteX74" fmla="*/ 4142855 w 9144000"/>
                <a:gd name="connsiteY74" fmla="*/ 1623734 h 6083134"/>
                <a:gd name="connsiteX75" fmla="*/ 4163861 w 9144000"/>
                <a:gd name="connsiteY75" fmla="*/ 1497042 h 6083134"/>
                <a:gd name="connsiteX76" fmla="*/ 4139354 w 9144000"/>
                <a:gd name="connsiteY76" fmla="*/ 1452700 h 6083134"/>
                <a:gd name="connsiteX77" fmla="*/ 4072836 w 9144000"/>
                <a:gd name="connsiteY77" fmla="*/ 1392521 h 6083134"/>
                <a:gd name="connsiteX78" fmla="*/ 3852275 w 9144000"/>
                <a:gd name="connsiteY78" fmla="*/ 1259494 h 6083134"/>
                <a:gd name="connsiteX79" fmla="*/ 3558194 w 9144000"/>
                <a:gd name="connsiteY79" fmla="*/ 1132802 h 6083134"/>
                <a:gd name="connsiteX80" fmla="*/ 3232605 w 9144000"/>
                <a:gd name="connsiteY80" fmla="*/ 1018779 h 6083134"/>
                <a:gd name="connsiteX81" fmla="*/ 2528911 w 9144000"/>
                <a:gd name="connsiteY81" fmla="*/ 825574 h 6083134"/>
                <a:gd name="connsiteX82" fmla="*/ 1030499 w 9144000"/>
                <a:gd name="connsiteY82" fmla="*/ 515179 h 6083134"/>
                <a:gd name="connsiteX83" fmla="*/ 0 w 9144000"/>
                <a:gd name="connsiteY83" fmla="*/ 348488 h 6083134"/>
                <a:gd name="connsiteX84" fmla="*/ 0 w 9144000"/>
                <a:gd name="connsiteY84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72084 h 6083134"/>
                <a:gd name="connsiteX30" fmla="*/ 2525410 w 9144000"/>
                <a:gd name="connsiteY30" fmla="*/ 3380398 h 6083134"/>
                <a:gd name="connsiteX31" fmla="*/ 2525410 w 9144000"/>
                <a:gd name="connsiteY31" fmla="*/ 3384753 h 6083134"/>
                <a:gd name="connsiteX32" fmla="*/ 2525410 w 9144000"/>
                <a:gd name="connsiteY32" fmla="*/ 3394255 h 6083134"/>
                <a:gd name="connsiteX33" fmla="*/ 2528911 w 9144000"/>
                <a:gd name="connsiteY33" fmla="*/ 3399797 h 6083134"/>
                <a:gd name="connsiteX34" fmla="*/ 2563921 w 9144000"/>
                <a:gd name="connsiteY34" fmla="*/ 3470270 h 6083134"/>
                <a:gd name="connsiteX35" fmla="*/ 2640942 w 9144000"/>
                <a:gd name="connsiteY35" fmla="*/ 3558954 h 6083134"/>
                <a:gd name="connsiteX36" fmla="*/ 2977035 w 9144000"/>
                <a:gd name="connsiteY36" fmla="*/ 3787000 h 6083134"/>
                <a:gd name="connsiteX37" fmla="*/ 3491676 w 9144000"/>
                <a:gd name="connsiteY37" fmla="*/ 4018213 h 6083134"/>
                <a:gd name="connsiteX38" fmla="*/ 4104345 w 9144000"/>
                <a:gd name="connsiteY38" fmla="*/ 4230422 h 6083134"/>
                <a:gd name="connsiteX39" fmla="*/ 4769528 w 9144000"/>
                <a:gd name="connsiteY39" fmla="*/ 4414126 h 6083134"/>
                <a:gd name="connsiteX40" fmla="*/ 6183917 w 9144000"/>
                <a:gd name="connsiteY40" fmla="*/ 4727688 h 6083134"/>
                <a:gd name="connsiteX41" fmla="*/ 7661324 w 9144000"/>
                <a:gd name="connsiteY41" fmla="*/ 4977905 h 6083134"/>
                <a:gd name="connsiteX42" fmla="*/ 9144000 w 9144000"/>
                <a:gd name="connsiteY42" fmla="*/ 5180860 h 6083134"/>
                <a:gd name="connsiteX43" fmla="*/ 9144000 w 9144000"/>
                <a:gd name="connsiteY43" fmla="*/ 6083134 h 6083134"/>
                <a:gd name="connsiteX44" fmla="*/ 4375201 w 9144000"/>
                <a:gd name="connsiteY44" fmla="*/ 6083134 h 6083134"/>
                <a:gd name="connsiteX45" fmla="*/ 3764751 w 9144000"/>
                <a:gd name="connsiteY45" fmla="*/ 5874251 h 6083134"/>
                <a:gd name="connsiteX46" fmla="*/ 3001541 w 9144000"/>
                <a:gd name="connsiteY46" fmla="*/ 5582860 h 6083134"/>
                <a:gd name="connsiteX47" fmla="*/ 2252335 w 9144000"/>
                <a:gd name="connsiteY47" fmla="*/ 5234456 h 6083134"/>
                <a:gd name="connsiteX48" fmla="*/ 1524135 w 9144000"/>
                <a:gd name="connsiteY48" fmla="*/ 4797369 h 6083134"/>
                <a:gd name="connsiteX49" fmla="*/ 1181040 w 9144000"/>
                <a:gd name="connsiteY49" fmla="*/ 4521814 h 6083134"/>
                <a:gd name="connsiteX50" fmla="*/ 879957 w 9144000"/>
                <a:gd name="connsiteY50" fmla="*/ 4186080 h 6083134"/>
                <a:gd name="connsiteX51" fmla="*/ 673400 w 9144000"/>
                <a:gd name="connsiteY51" fmla="*/ 3774331 h 6083134"/>
                <a:gd name="connsiteX52" fmla="*/ 641892 w 9144000"/>
                <a:gd name="connsiteY52" fmla="*/ 3315072 h 6083134"/>
                <a:gd name="connsiteX53" fmla="*/ 645393 w 9144000"/>
                <a:gd name="connsiteY53" fmla="*/ 3286567 h 6083134"/>
                <a:gd name="connsiteX54" fmla="*/ 648456 w 9144000"/>
                <a:gd name="connsiteY54" fmla="*/ 3269938 h 6083134"/>
                <a:gd name="connsiteX55" fmla="*/ 652395 w 9144000"/>
                <a:gd name="connsiteY55" fmla="*/ 3254894 h 6083134"/>
                <a:gd name="connsiteX56" fmla="*/ 655458 w 9144000"/>
                <a:gd name="connsiteY56" fmla="*/ 3246579 h 6083134"/>
                <a:gd name="connsiteX57" fmla="*/ 655896 w 9144000"/>
                <a:gd name="connsiteY57" fmla="*/ 3238265 h 6083134"/>
                <a:gd name="connsiteX58" fmla="*/ 655896 w 9144000"/>
                <a:gd name="connsiteY58" fmla="*/ 3235890 h 6083134"/>
                <a:gd name="connsiteX59" fmla="*/ 658959 w 9144000"/>
                <a:gd name="connsiteY59" fmla="*/ 3230347 h 6083134"/>
                <a:gd name="connsiteX60" fmla="*/ 666398 w 9144000"/>
                <a:gd name="connsiteY60" fmla="*/ 3207384 h 6083134"/>
                <a:gd name="connsiteX61" fmla="*/ 694406 w 9144000"/>
                <a:gd name="connsiteY61" fmla="*/ 3115533 h 6083134"/>
                <a:gd name="connsiteX62" fmla="*/ 778429 w 9144000"/>
                <a:gd name="connsiteY62" fmla="*/ 2925494 h 6083134"/>
                <a:gd name="connsiteX63" fmla="*/ 1062007 w 9144000"/>
                <a:gd name="connsiteY63" fmla="*/ 2548585 h 6083134"/>
                <a:gd name="connsiteX64" fmla="*/ 1506630 w 9144000"/>
                <a:gd name="connsiteY64" fmla="*/ 2222354 h 6083134"/>
                <a:gd name="connsiteX65" fmla="*/ 2031774 w 9144000"/>
                <a:gd name="connsiteY65" fmla="*/ 2016479 h 6083134"/>
                <a:gd name="connsiteX66" fmla="*/ 2532412 w 9144000"/>
                <a:gd name="connsiteY66" fmla="*/ 1905623 h 6083134"/>
                <a:gd name="connsiteX67" fmla="*/ 2984036 w 9144000"/>
                <a:gd name="connsiteY67" fmla="*/ 1851779 h 6083134"/>
                <a:gd name="connsiteX68" fmla="*/ 3386647 w 9144000"/>
                <a:gd name="connsiteY68" fmla="*/ 1816939 h 6083134"/>
                <a:gd name="connsiteX69" fmla="*/ 3726241 w 9144000"/>
                <a:gd name="connsiteY69" fmla="*/ 1782099 h 6083134"/>
                <a:gd name="connsiteX70" fmla="*/ 3967807 w 9144000"/>
                <a:gd name="connsiteY70" fmla="*/ 1740924 h 6083134"/>
                <a:gd name="connsiteX71" fmla="*/ 4030824 w 9144000"/>
                <a:gd name="connsiteY71" fmla="*/ 1725087 h 6083134"/>
                <a:gd name="connsiteX72" fmla="*/ 4072836 w 9144000"/>
                <a:gd name="connsiteY72" fmla="*/ 1709251 h 6083134"/>
                <a:gd name="connsiteX73" fmla="*/ 4111347 w 9144000"/>
                <a:gd name="connsiteY73" fmla="*/ 1680745 h 6083134"/>
                <a:gd name="connsiteX74" fmla="*/ 4142855 w 9144000"/>
                <a:gd name="connsiteY74" fmla="*/ 1623734 h 6083134"/>
                <a:gd name="connsiteX75" fmla="*/ 4163861 w 9144000"/>
                <a:gd name="connsiteY75" fmla="*/ 1497042 h 6083134"/>
                <a:gd name="connsiteX76" fmla="*/ 4139354 w 9144000"/>
                <a:gd name="connsiteY76" fmla="*/ 1452700 h 6083134"/>
                <a:gd name="connsiteX77" fmla="*/ 4072836 w 9144000"/>
                <a:gd name="connsiteY77" fmla="*/ 1392521 h 6083134"/>
                <a:gd name="connsiteX78" fmla="*/ 3852275 w 9144000"/>
                <a:gd name="connsiteY78" fmla="*/ 1259494 h 6083134"/>
                <a:gd name="connsiteX79" fmla="*/ 3558194 w 9144000"/>
                <a:gd name="connsiteY79" fmla="*/ 1132802 h 6083134"/>
                <a:gd name="connsiteX80" fmla="*/ 3232605 w 9144000"/>
                <a:gd name="connsiteY80" fmla="*/ 1018779 h 6083134"/>
                <a:gd name="connsiteX81" fmla="*/ 2528911 w 9144000"/>
                <a:gd name="connsiteY81" fmla="*/ 825574 h 6083134"/>
                <a:gd name="connsiteX82" fmla="*/ 1030499 w 9144000"/>
                <a:gd name="connsiteY82" fmla="*/ 515179 h 6083134"/>
                <a:gd name="connsiteX83" fmla="*/ 0 w 9144000"/>
                <a:gd name="connsiteY83" fmla="*/ 348488 h 6083134"/>
                <a:gd name="connsiteX84" fmla="*/ 0 w 9144000"/>
                <a:gd name="connsiteY84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72084 h 6083134"/>
                <a:gd name="connsiteX30" fmla="*/ 2525410 w 9144000"/>
                <a:gd name="connsiteY30" fmla="*/ 3380398 h 6083134"/>
                <a:gd name="connsiteX31" fmla="*/ 2525410 w 9144000"/>
                <a:gd name="connsiteY31" fmla="*/ 3384753 h 6083134"/>
                <a:gd name="connsiteX32" fmla="*/ 2525410 w 9144000"/>
                <a:gd name="connsiteY32" fmla="*/ 3394255 h 6083134"/>
                <a:gd name="connsiteX33" fmla="*/ 2528911 w 9144000"/>
                <a:gd name="connsiteY33" fmla="*/ 3399797 h 6083134"/>
                <a:gd name="connsiteX34" fmla="*/ 2563921 w 9144000"/>
                <a:gd name="connsiteY34" fmla="*/ 3470270 h 6083134"/>
                <a:gd name="connsiteX35" fmla="*/ 2640942 w 9144000"/>
                <a:gd name="connsiteY35" fmla="*/ 3558954 h 6083134"/>
                <a:gd name="connsiteX36" fmla="*/ 2977035 w 9144000"/>
                <a:gd name="connsiteY36" fmla="*/ 3787000 h 6083134"/>
                <a:gd name="connsiteX37" fmla="*/ 3491676 w 9144000"/>
                <a:gd name="connsiteY37" fmla="*/ 4018213 h 6083134"/>
                <a:gd name="connsiteX38" fmla="*/ 4104345 w 9144000"/>
                <a:gd name="connsiteY38" fmla="*/ 4230422 h 6083134"/>
                <a:gd name="connsiteX39" fmla="*/ 4769528 w 9144000"/>
                <a:gd name="connsiteY39" fmla="*/ 4414126 h 6083134"/>
                <a:gd name="connsiteX40" fmla="*/ 6183917 w 9144000"/>
                <a:gd name="connsiteY40" fmla="*/ 4727688 h 6083134"/>
                <a:gd name="connsiteX41" fmla="*/ 7661324 w 9144000"/>
                <a:gd name="connsiteY41" fmla="*/ 4977905 h 6083134"/>
                <a:gd name="connsiteX42" fmla="*/ 9144000 w 9144000"/>
                <a:gd name="connsiteY42" fmla="*/ 5180860 h 6083134"/>
                <a:gd name="connsiteX43" fmla="*/ 9144000 w 9144000"/>
                <a:gd name="connsiteY43" fmla="*/ 6083134 h 6083134"/>
                <a:gd name="connsiteX44" fmla="*/ 4375201 w 9144000"/>
                <a:gd name="connsiteY44" fmla="*/ 6083134 h 6083134"/>
                <a:gd name="connsiteX45" fmla="*/ 3764751 w 9144000"/>
                <a:gd name="connsiteY45" fmla="*/ 5874251 h 6083134"/>
                <a:gd name="connsiteX46" fmla="*/ 3001541 w 9144000"/>
                <a:gd name="connsiteY46" fmla="*/ 5582860 h 6083134"/>
                <a:gd name="connsiteX47" fmla="*/ 2252335 w 9144000"/>
                <a:gd name="connsiteY47" fmla="*/ 5234456 h 6083134"/>
                <a:gd name="connsiteX48" fmla="*/ 1524135 w 9144000"/>
                <a:gd name="connsiteY48" fmla="*/ 4797369 h 6083134"/>
                <a:gd name="connsiteX49" fmla="*/ 1181040 w 9144000"/>
                <a:gd name="connsiteY49" fmla="*/ 4521814 h 6083134"/>
                <a:gd name="connsiteX50" fmla="*/ 879957 w 9144000"/>
                <a:gd name="connsiteY50" fmla="*/ 4186080 h 6083134"/>
                <a:gd name="connsiteX51" fmla="*/ 673400 w 9144000"/>
                <a:gd name="connsiteY51" fmla="*/ 3774331 h 6083134"/>
                <a:gd name="connsiteX52" fmla="*/ 641892 w 9144000"/>
                <a:gd name="connsiteY52" fmla="*/ 3315072 h 6083134"/>
                <a:gd name="connsiteX53" fmla="*/ 645393 w 9144000"/>
                <a:gd name="connsiteY53" fmla="*/ 3286567 h 6083134"/>
                <a:gd name="connsiteX54" fmla="*/ 648456 w 9144000"/>
                <a:gd name="connsiteY54" fmla="*/ 3269938 h 6083134"/>
                <a:gd name="connsiteX55" fmla="*/ 652395 w 9144000"/>
                <a:gd name="connsiteY55" fmla="*/ 3254894 h 6083134"/>
                <a:gd name="connsiteX56" fmla="*/ 655458 w 9144000"/>
                <a:gd name="connsiteY56" fmla="*/ 3246579 h 6083134"/>
                <a:gd name="connsiteX57" fmla="*/ 655896 w 9144000"/>
                <a:gd name="connsiteY57" fmla="*/ 3238265 h 6083134"/>
                <a:gd name="connsiteX58" fmla="*/ 655896 w 9144000"/>
                <a:gd name="connsiteY58" fmla="*/ 3235890 h 6083134"/>
                <a:gd name="connsiteX59" fmla="*/ 658959 w 9144000"/>
                <a:gd name="connsiteY59" fmla="*/ 3230347 h 6083134"/>
                <a:gd name="connsiteX60" fmla="*/ 666398 w 9144000"/>
                <a:gd name="connsiteY60" fmla="*/ 3207384 h 6083134"/>
                <a:gd name="connsiteX61" fmla="*/ 694406 w 9144000"/>
                <a:gd name="connsiteY61" fmla="*/ 3115533 h 6083134"/>
                <a:gd name="connsiteX62" fmla="*/ 778429 w 9144000"/>
                <a:gd name="connsiteY62" fmla="*/ 2925494 h 6083134"/>
                <a:gd name="connsiteX63" fmla="*/ 1062007 w 9144000"/>
                <a:gd name="connsiteY63" fmla="*/ 2548585 h 6083134"/>
                <a:gd name="connsiteX64" fmla="*/ 1506630 w 9144000"/>
                <a:gd name="connsiteY64" fmla="*/ 2222354 h 6083134"/>
                <a:gd name="connsiteX65" fmla="*/ 2031774 w 9144000"/>
                <a:gd name="connsiteY65" fmla="*/ 2016479 h 6083134"/>
                <a:gd name="connsiteX66" fmla="*/ 2532412 w 9144000"/>
                <a:gd name="connsiteY66" fmla="*/ 1905623 h 6083134"/>
                <a:gd name="connsiteX67" fmla="*/ 2984036 w 9144000"/>
                <a:gd name="connsiteY67" fmla="*/ 1851779 h 6083134"/>
                <a:gd name="connsiteX68" fmla="*/ 3386647 w 9144000"/>
                <a:gd name="connsiteY68" fmla="*/ 1816939 h 6083134"/>
                <a:gd name="connsiteX69" fmla="*/ 3726241 w 9144000"/>
                <a:gd name="connsiteY69" fmla="*/ 1782099 h 6083134"/>
                <a:gd name="connsiteX70" fmla="*/ 3967807 w 9144000"/>
                <a:gd name="connsiteY70" fmla="*/ 1740924 h 6083134"/>
                <a:gd name="connsiteX71" fmla="*/ 4030824 w 9144000"/>
                <a:gd name="connsiteY71" fmla="*/ 1725087 h 6083134"/>
                <a:gd name="connsiteX72" fmla="*/ 4072836 w 9144000"/>
                <a:gd name="connsiteY72" fmla="*/ 1709251 h 6083134"/>
                <a:gd name="connsiteX73" fmla="*/ 4111347 w 9144000"/>
                <a:gd name="connsiteY73" fmla="*/ 1680745 h 6083134"/>
                <a:gd name="connsiteX74" fmla="*/ 4142855 w 9144000"/>
                <a:gd name="connsiteY74" fmla="*/ 1623734 h 6083134"/>
                <a:gd name="connsiteX75" fmla="*/ 4139354 w 9144000"/>
                <a:gd name="connsiteY75" fmla="*/ 1452700 h 6083134"/>
                <a:gd name="connsiteX76" fmla="*/ 4072836 w 9144000"/>
                <a:gd name="connsiteY76" fmla="*/ 1392521 h 6083134"/>
                <a:gd name="connsiteX77" fmla="*/ 3852275 w 9144000"/>
                <a:gd name="connsiteY77" fmla="*/ 1259494 h 6083134"/>
                <a:gd name="connsiteX78" fmla="*/ 3558194 w 9144000"/>
                <a:gd name="connsiteY78" fmla="*/ 1132802 h 6083134"/>
                <a:gd name="connsiteX79" fmla="*/ 3232605 w 9144000"/>
                <a:gd name="connsiteY79" fmla="*/ 1018779 h 6083134"/>
                <a:gd name="connsiteX80" fmla="*/ 2528911 w 9144000"/>
                <a:gd name="connsiteY80" fmla="*/ 825574 h 6083134"/>
                <a:gd name="connsiteX81" fmla="*/ 1030499 w 9144000"/>
                <a:gd name="connsiteY81" fmla="*/ 515179 h 6083134"/>
                <a:gd name="connsiteX82" fmla="*/ 0 w 9144000"/>
                <a:gd name="connsiteY82" fmla="*/ 348488 h 6083134"/>
                <a:gd name="connsiteX83" fmla="*/ 0 w 9144000"/>
                <a:gd name="connsiteY83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72084 h 6083134"/>
                <a:gd name="connsiteX30" fmla="*/ 2525410 w 9144000"/>
                <a:gd name="connsiteY30" fmla="*/ 3380398 h 6083134"/>
                <a:gd name="connsiteX31" fmla="*/ 2525410 w 9144000"/>
                <a:gd name="connsiteY31" fmla="*/ 3384753 h 6083134"/>
                <a:gd name="connsiteX32" fmla="*/ 2525410 w 9144000"/>
                <a:gd name="connsiteY32" fmla="*/ 3394255 h 6083134"/>
                <a:gd name="connsiteX33" fmla="*/ 2528911 w 9144000"/>
                <a:gd name="connsiteY33" fmla="*/ 3399797 h 6083134"/>
                <a:gd name="connsiteX34" fmla="*/ 2563921 w 9144000"/>
                <a:gd name="connsiteY34" fmla="*/ 3470270 h 6083134"/>
                <a:gd name="connsiteX35" fmla="*/ 2640942 w 9144000"/>
                <a:gd name="connsiteY35" fmla="*/ 3558954 h 6083134"/>
                <a:gd name="connsiteX36" fmla="*/ 2977035 w 9144000"/>
                <a:gd name="connsiteY36" fmla="*/ 3787000 h 6083134"/>
                <a:gd name="connsiteX37" fmla="*/ 3491676 w 9144000"/>
                <a:gd name="connsiteY37" fmla="*/ 4018213 h 6083134"/>
                <a:gd name="connsiteX38" fmla="*/ 4104345 w 9144000"/>
                <a:gd name="connsiteY38" fmla="*/ 4230422 h 6083134"/>
                <a:gd name="connsiteX39" fmla="*/ 4769528 w 9144000"/>
                <a:gd name="connsiteY39" fmla="*/ 4414126 h 6083134"/>
                <a:gd name="connsiteX40" fmla="*/ 6183917 w 9144000"/>
                <a:gd name="connsiteY40" fmla="*/ 4727688 h 6083134"/>
                <a:gd name="connsiteX41" fmla="*/ 7661324 w 9144000"/>
                <a:gd name="connsiteY41" fmla="*/ 4977905 h 6083134"/>
                <a:gd name="connsiteX42" fmla="*/ 9144000 w 9144000"/>
                <a:gd name="connsiteY42" fmla="*/ 5180860 h 6083134"/>
                <a:gd name="connsiteX43" fmla="*/ 9144000 w 9144000"/>
                <a:gd name="connsiteY43" fmla="*/ 6083134 h 6083134"/>
                <a:gd name="connsiteX44" fmla="*/ 4375201 w 9144000"/>
                <a:gd name="connsiteY44" fmla="*/ 6083134 h 6083134"/>
                <a:gd name="connsiteX45" fmla="*/ 3764751 w 9144000"/>
                <a:gd name="connsiteY45" fmla="*/ 5874251 h 6083134"/>
                <a:gd name="connsiteX46" fmla="*/ 3001541 w 9144000"/>
                <a:gd name="connsiteY46" fmla="*/ 5582860 h 6083134"/>
                <a:gd name="connsiteX47" fmla="*/ 2252335 w 9144000"/>
                <a:gd name="connsiteY47" fmla="*/ 5234456 h 6083134"/>
                <a:gd name="connsiteX48" fmla="*/ 1524135 w 9144000"/>
                <a:gd name="connsiteY48" fmla="*/ 4797369 h 6083134"/>
                <a:gd name="connsiteX49" fmla="*/ 1181040 w 9144000"/>
                <a:gd name="connsiteY49" fmla="*/ 4521814 h 6083134"/>
                <a:gd name="connsiteX50" fmla="*/ 879957 w 9144000"/>
                <a:gd name="connsiteY50" fmla="*/ 4186080 h 6083134"/>
                <a:gd name="connsiteX51" fmla="*/ 673400 w 9144000"/>
                <a:gd name="connsiteY51" fmla="*/ 3774331 h 6083134"/>
                <a:gd name="connsiteX52" fmla="*/ 641892 w 9144000"/>
                <a:gd name="connsiteY52" fmla="*/ 3315072 h 6083134"/>
                <a:gd name="connsiteX53" fmla="*/ 645393 w 9144000"/>
                <a:gd name="connsiteY53" fmla="*/ 3286567 h 6083134"/>
                <a:gd name="connsiteX54" fmla="*/ 648456 w 9144000"/>
                <a:gd name="connsiteY54" fmla="*/ 3269938 h 6083134"/>
                <a:gd name="connsiteX55" fmla="*/ 652395 w 9144000"/>
                <a:gd name="connsiteY55" fmla="*/ 3254894 h 6083134"/>
                <a:gd name="connsiteX56" fmla="*/ 655458 w 9144000"/>
                <a:gd name="connsiteY56" fmla="*/ 3246579 h 6083134"/>
                <a:gd name="connsiteX57" fmla="*/ 655896 w 9144000"/>
                <a:gd name="connsiteY57" fmla="*/ 3238265 h 6083134"/>
                <a:gd name="connsiteX58" fmla="*/ 655896 w 9144000"/>
                <a:gd name="connsiteY58" fmla="*/ 3235890 h 6083134"/>
                <a:gd name="connsiteX59" fmla="*/ 658959 w 9144000"/>
                <a:gd name="connsiteY59" fmla="*/ 3230347 h 6083134"/>
                <a:gd name="connsiteX60" fmla="*/ 666398 w 9144000"/>
                <a:gd name="connsiteY60" fmla="*/ 3207384 h 6083134"/>
                <a:gd name="connsiteX61" fmla="*/ 694406 w 9144000"/>
                <a:gd name="connsiteY61" fmla="*/ 3115533 h 6083134"/>
                <a:gd name="connsiteX62" fmla="*/ 778429 w 9144000"/>
                <a:gd name="connsiteY62" fmla="*/ 2925494 h 6083134"/>
                <a:gd name="connsiteX63" fmla="*/ 1062007 w 9144000"/>
                <a:gd name="connsiteY63" fmla="*/ 2548585 h 6083134"/>
                <a:gd name="connsiteX64" fmla="*/ 1506630 w 9144000"/>
                <a:gd name="connsiteY64" fmla="*/ 2222354 h 6083134"/>
                <a:gd name="connsiteX65" fmla="*/ 2031774 w 9144000"/>
                <a:gd name="connsiteY65" fmla="*/ 2016479 h 6083134"/>
                <a:gd name="connsiteX66" fmla="*/ 2532412 w 9144000"/>
                <a:gd name="connsiteY66" fmla="*/ 1905623 h 6083134"/>
                <a:gd name="connsiteX67" fmla="*/ 2984036 w 9144000"/>
                <a:gd name="connsiteY67" fmla="*/ 1851779 h 6083134"/>
                <a:gd name="connsiteX68" fmla="*/ 3386647 w 9144000"/>
                <a:gd name="connsiteY68" fmla="*/ 1816939 h 6083134"/>
                <a:gd name="connsiteX69" fmla="*/ 3726241 w 9144000"/>
                <a:gd name="connsiteY69" fmla="*/ 1782099 h 6083134"/>
                <a:gd name="connsiteX70" fmla="*/ 3967807 w 9144000"/>
                <a:gd name="connsiteY70" fmla="*/ 1740924 h 6083134"/>
                <a:gd name="connsiteX71" fmla="*/ 4030824 w 9144000"/>
                <a:gd name="connsiteY71" fmla="*/ 1725087 h 6083134"/>
                <a:gd name="connsiteX72" fmla="*/ 4072836 w 9144000"/>
                <a:gd name="connsiteY72" fmla="*/ 1709251 h 6083134"/>
                <a:gd name="connsiteX73" fmla="*/ 4111347 w 9144000"/>
                <a:gd name="connsiteY73" fmla="*/ 1680745 h 6083134"/>
                <a:gd name="connsiteX74" fmla="*/ 4142855 w 9144000"/>
                <a:gd name="connsiteY74" fmla="*/ 1623734 h 6083134"/>
                <a:gd name="connsiteX75" fmla="*/ 4139354 w 9144000"/>
                <a:gd name="connsiteY75" fmla="*/ 1452700 h 6083134"/>
                <a:gd name="connsiteX76" fmla="*/ 4072836 w 9144000"/>
                <a:gd name="connsiteY76" fmla="*/ 1392521 h 6083134"/>
                <a:gd name="connsiteX77" fmla="*/ 3852275 w 9144000"/>
                <a:gd name="connsiteY77" fmla="*/ 1259494 h 6083134"/>
                <a:gd name="connsiteX78" fmla="*/ 3558194 w 9144000"/>
                <a:gd name="connsiteY78" fmla="*/ 1132802 h 6083134"/>
                <a:gd name="connsiteX79" fmla="*/ 3232605 w 9144000"/>
                <a:gd name="connsiteY79" fmla="*/ 1018779 h 6083134"/>
                <a:gd name="connsiteX80" fmla="*/ 2528911 w 9144000"/>
                <a:gd name="connsiteY80" fmla="*/ 825574 h 6083134"/>
                <a:gd name="connsiteX81" fmla="*/ 1030499 w 9144000"/>
                <a:gd name="connsiteY81" fmla="*/ 515179 h 6083134"/>
                <a:gd name="connsiteX82" fmla="*/ 0 w 9144000"/>
                <a:gd name="connsiteY82" fmla="*/ 348488 h 6083134"/>
                <a:gd name="connsiteX83" fmla="*/ 0 w 9144000"/>
                <a:gd name="connsiteY83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72084 h 6083134"/>
                <a:gd name="connsiteX30" fmla="*/ 2525410 w 9144000"/>
                <a:gd name="connsiteY30" fmla="*/ 3380398 h 6083134"/>
                <a:gd name="connsiteX31" fmla="*/ 2525410 w 9144000"/>
                <a:gd name="connsiteY31" fmla="*/ 3384753 h 6083134"/>
                <a:gd name="connsiteX32" fmla="*/ 2525410 w 9144000"/>
                <a:gd name="connsiteY32" fmla="*/ 3394255 h 6083134"/>
                <a:gd name="connsiteX33" fmla="*/ 2528911 w 9144000"/>
                <a:gd name="connsiteY33" fmla="*/ 3399797 h 6083134"/>
                <a:gd name="connsiteX34" fmla="*/ 2563921 w 9144000"/>
                <a:gd name="connsiteY34" fmla="*/ 3470270 h 6083134"/>
                <a:gd name="connsiteX35" fmla="*/ 2640942 w 9144000"/>
                <a:gd name="connsiteY35" fmla="*/ 3558954 h 6083134"/>
                <a:gd name="connsiteX36" fmla="*/ 2977035 w 9144000"/>
                <a:gd name="connsiteY36" fmla="*/ 3787000 h 6083134"/>
                <a:gd name="connsiteX37" fmla="*/ 3491676 w 9144000"/>
                <a:gd name="connsiteY37" fmla="*/ 4018213 h 6083134"/>
                <a:gd name="connsiteX38" fmla="*/ 4104345 w 9144000"/>
                <a:gd name="connsiteY38" fmla="*/ 4230422 h 6083134"/>
                <a:gd name="connsiteX39" fmla="*/ 4769528 w 9144000"/>
                <a:gd name="connsiteY39" fmla="*/ 4414126 h 6083134"/>
                <a:gd name="connsiteX40" fmla="*/ 6183917 w 9144000"/>
                <a:gd name="connsiteY40" fmla="*/ 4727688 h 6083134"/>
                <a:gd name="connsiteX41" fmla="*/ 7661324 w 9144000"/>
                <a:gd name="connsiteY41" fmla="*/ 4977905 h 6083134"/>
                <a:gd name="connsiteX42" fmla="*/ 9144000 w 9144000"/>
                <a:gd name="connsiteY42" fmla="*/ 5180860 h 6083134"/>
                <a:gd name="connsiteX43" fmla="*/ 9144000 w 9144000"/>
                <a:gd name="connsiteY43" fmla="*/ 6083134 h 6083134"/>
                <a:gd name="connsiteX44" fmla="*/ 4375201 w 9144000"/>
                <a:gd name="connsiteY44" fmla="*/ 6083134 h 6083134"/>
                <a:gd name="connsiteX45" fmla="*/ 3764751 w 9144000"/>
                <a:gd name="connsiteY45" fmla="*/ 5874251 h 6083134"/>
                <a:gd name="connsiteX46" fmla="*/ 3001541 w 9144000"/>
                <a:gd name="connsiteY46" fmla="*/ 5582860 h 6083134"/>
                <a:gd name="connsiteX47" fmla="*/ 2252335 w 9144000"/>
                <a:gd name="connsiteY47" fmla="*/ 5234456 h 6083134"/>
                <a:gd name="connsiteX48" fmla="*/ 1524135 w 9144000"/>
                <a:gd name="connsiteY48" fmla="*/ 4797369 h 6083134"/>
                <a:gd name="connsiteX49" fmla="*/ 1181040 w 9144000"/>
                <a:gd name="connsiteY49" fmla="*/ 4521814 h 6083134"/>
                <a:gd name="connsiteX50" fmla="*/ 879957 w 9144000"/>
                <a:gd name="connsiteY50" fmla="*/ 4186080 h 6083134"/>
                <a:gd name="connsiteX51" fmla="*/ 673400 w 9144000"/>
                <a:gd name="connsiteY51" fmla="*/ 3774331 h 6083134"/>
                <a:gd name="connsiteX52" fmla="*/ 641892 w 9144000"/>
                <a:gd name="connsiteY52" fmla="*/ 3315072 h 6083134"/>
                <a:gd name="connsiteX53" fmla="*/ 645393 w 9144000"/>
                <a:gd name="connsiteY53" fmla="*/ 3286567 h 6083134"/>
                <a:gd name="connsiteX54" fmla="*/ 648456 w 9144000"/>
                <a:gd name="connsiteY54" fmla="*/ 3269938 h 6083134"/>
                <a:gd name="connsiteX55" fmla="*/ 652395 w 9144000"/>
                <a:gd name="connsiteY55" fmla="*/ 3254894 h 6083134"/>
                <a:gd name="connsiteX56" fmla="*/ 655458 w 9144000"/>
                <a:gd name="connsiteY56" fmla="*/ 3246579 h 6083134"/>
                <a:gd name="connsiteX57" fmla="*/ 655896 w 9144000"/>
                <a:gd name="connsiteY57" fmla="*/ 3238265 h 6083134"/>
                <a:gd name="connsiteX58" fmla="*/ 655896 w 9144000"/>
                <a:gd name="connsiteY58" fmla="*/ 3235890 h 6083134"/>
                <a:gd name="connsiteX59" fmla="*/ 658959 w 9144000"/>
                <a:gd name="connsiteY59" fmla="*/ 3230347 h 6083134"/>
                <a:gd name="connsiteX60" fmla="*/ 666398 w 9144000"/>
                <a:gd name="connsiteY60" fmla="*/ 3207384 h 6083134"/>
                <a:gd name="connsiteX61" fmla="*/ 694406 w 9144000"/>
                <a:gd name="connsiteY61" fmla="*/ 3115533 h 6083134"/>
                <a:gd name="connsiteX62" fmla="*/ 778429 w 9144000"/>
                <a:gd name="connsiteY62" fmla="*/ 2925494 h 6083134"/>
                <a:gd name="connsiteX63" fmla="*/ 1062007 w 9144000"/>
                <a:gd name="connsiteY63" fmla="*/ 2548585 h 6083134"/>
                <a:gd name="connsiteX64" fmla="*/ 1506630 w 9144000"/>
                <a:gd name="connsiteY64" fmla="*/ 2222354 h 6083134"/>
                <a:gd name="connsiteX65" fmla="*/ 2031774 w 9144000"/>
                <a:gd name="connsiteY65" fmla="*/ 2016479 h 6083134"/>
                <a:gd name="connsiteX66" fmla="*/ 2532412 w 9144000"/>
                <a:gd name="connsiteY66" fmla="*/ 1905623 h 6083134"/>
                <a:gd name="connsiteX67" fmla="*/ 2984036 w 9144000"/>
                <a:gd name="connsiteY67" fmla="*/ 1851779 h 6083134"/>
                <a:gd name="connsiteX68" fmla="*/ 3386647 w 9144000"/>
                <a:gd name="connsiteY68" fmla="*/ 1816939 h 6083134"/>
                <a:gd name="connsiteX69" fmla="*/ 3726241 w 9144000"/>
                <a:gd name="connsiteY69" fmla="*/ 1782099 h 6083134"/>
                <a:gd name="connsiteX70" fmla="*/ 3967807 w 9144000"/>
                <a:gd name="connsiteY70" fmla="*/ 1740924 h 6083134"/>
                <a:gd name="connsiteX71" fmla="*/ 4030824 w 9144000"/>
                <a:gd name="connsiteY71" fmla="*/ 1725087 h 6083134"/>
                <a:gd name="connsiteX72" fmla="*/ 4072836 w 9144000"/>
                <a:gd name="connsiteY72" fmla="*/ 1709251 h 6083134"/>
                <a:gd name="connsiteX73" fmla="*/ 4111347 w 9144000"/>
                <a:gd name="connsiteY73" fmla="*/ 1680745 h 6083134"/>
                <a:gd name="connsiteX74" fmla="*/ 4142855 w 9144000"/>
                <a:gd name="connsiteY74" fmla="*/ 1623734 h 6083134"/>
                <a:gd name="connsiteX75" fmla="*/ 4139354 w 9144000"/>
                <a:gd name="connsiteY75" fmla="*/ 1452700 h 6083134"/>
                <a:gd name="connsiteX76" fmla="*/ 4072836 w 9144000"/>
                <a:gd name="connsiteY76" fmla="*/ 1392521 h 6083134"/>
                <a:gd name="connsiteX77" fmla="*/ 3852275 w 9144000"/>
                <a:gd name="connsiteY77" fmla="*/ 1259494 h 6083134"/>
                <a:gd name="connsiteX78" fmla="*/ 3558194 w 9144000"/>
                <a:gd name="connsiteY78" fmla="*/ 1132802 h 6083134"/>
                <a:gd name="connsiteX79" fmla="*/ 3232605 w 9144000"/>
                <a:gd name="connsiteY79" fmla="*/ 1018779 h 6083134"/>
                <a:gd name="connsiteX80" fmla="*/ 2528911 w 9144000"/>
                <a:gd name="connsiteY80" fmla="*/ 825574 h 6083134"/>
                <a:gd name="connsiteX81" fmla="*/ 1030499 w 9144000"/>
                <a:gd name="connsiteY81" fmla="*/ 515179 h 6083134"/>
                <a:gd name="connsiteX82" fmla="*/ 0 w 9144000"/>
                <a:gd name="connsiteY82" fmla="*/ 348488 h 6083134"/>
                <a:gd name="connsiteX83" fmla="*/ 0 w 9144000"/>
                <a:gd name="connsiteY83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72084 h 6083134"/>
                <a:gd name="connsiteX30" fmla="*/ 2525410 w 9144000"/>
                <a:gd name="connsiteY30" fmla="*/ 3380398 h 6083134"/>
                <a:gd name="connsiteX31" fmla="*/ 2525410 w 9144000"/>
                <a:gd name="connsiteY31" fmla="*/ 3384753 h 6083134"/>
                <a:gd name="connsiteX32" fmla="*/ 2525410 w 9144000"/>
                <a:gd name="connsiteY32" fmla="*/ 3394255 h 6083134"/>
                <a:gd name="connsiteX33" fmla="*/ 2528911 w 9144000"/>
                <a:gd name="connsiteY33" fmla="*/ 3399797 h 6083134"/>
                <a:gd name="connsiteX34" fmla="*/ 2563921 w 9144000"/>
                <a:gd name="connsiteY34" fmla="*/ 3470270 h 6083134"/>
                <a:gd name="connsiteX35" fmla="*/ 2640942 w 9144000"/>
                <a:gd name="connsiteY35" fmla="*/ 3558954 h 6083134"/>
                <a:gd name="connsiteX36" fmla="*/ 2977035 w 9144000"/>
                <a:gd name="connsiteY36" fmla="*/ 3787000 h 6083134"/>
                <a:gd name="connsiteX37" fmla="*/ 3491676 w 9144000"/>
                <a:gd name="connsiteY37" fmla="*/ 4018213 h 6083134"/>
                <a:gd name="connsiteX38" fmla="*/ 4104345 w 9144000"/>
                <a:gd name="connsiteY38" fmla="*/ 4230422 h 6083134"/>
                <a:gd name="connsiteX39" fmla="*/ 4769528 w 9144000"/>
                <a:gd name="connsiteY39" fmla="*/ 4414126 h 6083134"/>
                <a:gd name="connsiteX40" fmla="*/ 6183917 w 9144000"/>
                <a:gd name="connsiteY40" fmla="*/ 4727688 h 6083134"/>
                <a:gd name="connsiteX41" fmla="*/ 7661324 w 9144000"/>
                <a:gd name="connsiteY41" fmla="*/ 4977905 h 6083134"/>
                <a:gd name="connsiteX42" fmla="*/ 9144000 w 9144000"/>
                <a:gd name="connsiteY42" fmla="*/ 5180860 h 6083134"/>
                <a:gd name="connsiteX43" fmla="*/ 9144000 w 9144000"/>
                <a:gd name="connsiteY43" fmla="*/ 6083134 h 6083134"/>
                <a:gd name="connsiteX44" fmla="*/ 4375201 w 9144000"/>
                <a:gd name="connsiteY44" fmla="*/ 6083134 h 6083134"/>
                <a:gd name="connsiteX45" fmla="*/ 3764751 w 9144000"/>
                <a:gd name="connsiteY45" fmla="*/ 5874251 h 6083134"/>
                <a:gd name="connsiteX46" fmla="*/ 3001541 w 9144000"/>
                <a:gd name="connsiteY46" fmla="*/ 5582860 h 6083134"/>
                <a:gd name="connsiteX47" fmla="*/ 2252335 w 9144000"/>
                <a:gd name="connsiteY47" fmla="*/ 5234456 h 6083134"/>
                <a:gd name="connsiteX48" fmla="*/ 1524135 w 9144000"/>
                <a:gd name="connsiteY48" fmla="*/ 4797369 h 6083134"/>
                <a:gd name="connsiteX49" fmla="*/ 1181040 w 9144000"/>
                <a:gd name="connsiteY49" fmla="*/ 4521814 h 6083134"/>
                <a:gd name="connsiteX50" fmla="*/ 879957 w 9144000"/>
                <a:gd name="connsiteY50" fmla="*/ 4186080 h 6083134"/>
                <a:gd name="connsiteX51" fmla="*/ 673400 w 9144000"/>
                <a:gd name="connsiteY51" fmla="*/ 3774331 h 6083134"/>
                <a:gd name="connsiteX52" fmla="*/ 641892 w 9144000"/>
                <a:gd name="connsiteY52" fmla="*/ 3315072 h 6083134"/>
                <a:gd name="connsiteX53" fmla="*/ 645393 w 9144000"/>
                <a:gd name="connsiteY53" fmla="*/ 3286567 h 6083134"/>
                <a:gd name="connsiteX54" fmla="*/ 648456 w 9144000"/>
                <a:gd name="connsiteY54" fmla="*/ 3269938 h 6083134"/>
                <a:gd name="connsiteX55" fmla="*/ 652395 w 9144000"/>
                <a:gd name="connsiteY55" fmla="*/ 3254894 h 6083134"/>
                <a:gd name="connsiteX56" fmla="*/ 655458 w 9144000"/>
                <a:gd name="connsiteY56" fmla="*/ 3246579 h 6083134"/>
                <a:gd name="connsiteX57" fmla="*/ 655896 w 9144000"/>
                <a:gd name="connsiteY57" fmla="*/ 3238265 h 6083134"/>
                <a:gd name="connsiteX58" fmla="*/ 655896 w 9144000"/>
                <a:gd name="connsiteY58" fmla="*/ 3235890 h 6083134"/>
                <a:gd name="connsiteX59" fmla="*/ 658959 w 9144000"/>
                <a:gd name="connsiteY59" fmla="*/ 3230347 h 6083134"/>
                <a:gd name="connsiteX60" fmla="*/ 666398 w 9144000"/>
                <a:gd name="connsiteY60" fmla="*/ 3207384 h 6083134"/>
                <a:gd name="connsiteX61" fmla="*/ 694406 w 9144000"/>
                <a:gd name="connsiteY61" fmla="*/ 3115533 h 6083134"/>
                <a:gd name="connsiteX62" fmla="*/ 778429 w 9144000"/>
                <a:gd name="connsiteY62" fmla="*/ 2925494 h 6083134"/>
                <a:gd name="connsiteX63" fmla="*/ 1062007 w 9144000"/>
                <a:gd name="connsiteY63" fmla="*/ 2548585 h 6083134"/>
                <a:gd name="connsiteX64" fmla="*/ 1506630 w 9144000"/>
                <a:gd name="connsiteY64" fmla="*/ 2222354 h 6083134"/>
                <a:gd name="connsiteX65" fmla="*/ 2031774 w 9144000"/>
                <a:gd name="connsiteY65" fmla="*/ 2016479 h 6083134"/>
                <a:gd name="connsiteX66" fmla="*/ 2532412 w 9144000"/>
                <a:gd name="connsiteY66" fmla="*/ 1905623 h 6083134"/>
                <a:gd name="connsiteX67" fmla="*/ 2984036 w 9144000"/>
                <a:gd name="connsiteY67" fmla="*/ 1851779 h 6083134"/>
                <a:gd name="connsiteX68" fmla="*/ 3386647 w 9144000"/>
                <a:gd name="connsiteY68" fmla="*/ 1816939 h 6083134"/>
                <a:gd name="connsiteX69" fmla="*/ 3726241 w 9144000"/>
                <a:gd name="connsiteY69" fmla="*/ 1782099 h 6083134"/>
                <a:gd name="connsiteX70" fmla="*/ 3967807 w 9144000"/>
                <a:gd name="connsiteY70" fmla="*/ 1740924 h 6083134"/>
                <a:gd name="connsiteX71" fmla="*/ 4030824 w 9144000"/>
                <a:gd name="connsiteY71" fmla="*/ 1725087 h 6083134"/>
                <a:gd name="connsiteX72" fmla="*/ 4072836 w 9144000"/>
                <a:gd name="connsiteY72" fmla="*/ 1709251 h 6083134"/>
                <a:gd name="connsiteX73" fmla="*/ 4111347 w 9144000"/>
                <a:gd name="connsiteY73" fmla="*/ 1680745 h 6083134"/>
                <a:gd name="connsiteX74" fmla="*/ 4142855 w 9144000"/>
                <a:gd name="connsiteY74" fmla="*/ 1623734 h 6083134"/>
                <a:gd name="connsiteX75" fmla="*/ 4139354 w 9144000"/>
                <a:gd name="connsiteY75" fmla="*/ 1452700 h 6083134"/>
                <a:gd name="connsiteX76" fmla="*/ 4072836 w 9144000"/>
                <a:gd name="connsiteY76" fmla="*/ 1392521 h 6083134"/>
                <a:gd name="connsiteX77" fmla="*/ 3852275 w 9144000"/>
                <a:gd name="connsiteY77" fmla="*/ 1259494 h 6083134"/>
                <a:gd name="connsiteX78" fmla="*/ 3558194 w 9144000"/>
                <a:gd name="connsiteY78" fmla="*/ 1132802 h 6083134"/>
                <a:gd name="connsiteX79" fmla="*/ 3232605 w 9144000"/>
                <a:gd name="connsiteY79" fmla="*/ 1018779 h 6083134"/>
                <a:gd name="connsiteX80" fmla="*/ 2528911 w 9144000"/>
                <a:gd name="connsiteY80" fmla="*/ 825574 h 6083134"/>
                <a:gd name="connsiteX81" fmla="*/ 1030499 w 9144000"/>
                <a:gd name="connsiteY81" fmla="*/ 515179 h 6083134"/>
                <a:gd name="connsiteX82" fmla="*/ 0 w 9144000"/>
                <a:gd name="connsiteY82" fmla="*/ 348488 h 6083134"/>
                <a:gd name="connsiteX83" fmla="*/ 0 w 9144000"/>
                <a:gd name="connsiteY83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72084 h 6083134"/>
                <a:gd name="connsiteX30" fmla="*/ 2525410 w 9144000"/>
                <a:gd name="connsiteY30" fmla="*/ 3380398 h 6083134"/>
                <a:gd name="connsiteX31" fmla="*/ 2525410 w 9144000"/>
                <a:gd name="connsiteY31" fmla="*/ 3394255 h 6083134"/>
                <a:gd name="connsiteX32" fmla="*/ 2528911 w 9144000"/>
                <a:gd name="connsiteY32" fmla="*/ 3399797 h 6083134"/>
                <a:gd name="connsiteX33" fmla="*/ 2563921 w 9144000"/>
                <a:gd name="connsiteY33" fmla="*/ 3470270 h 6083134"/>
                <a:gd name="connsiteX34" fmla="*/ 2640942 w 9144000"/>
                <a:gd name="connsiteY34" fmla="*/ 3558954 h 6083134"/>
                <a:gd name="connsiteX35" fmla="*/ 2977035 w 9144000"/>
                <a:gd name="connsiteY35" fmla="*/ 3787000 h 6083134"/>
                <a:gd name="connsiteX36" fmla="*/ 3491676 w 9144000"/>
                <a:gd name="connsiteY36" fmla="*/ 4018213 h 6083134"/>
                <a:gd name="connsiteX37" fmla="*/ 4104345 w 9144000"/>
                <a:gd name="connsiteY37" fmla="*/ 4230422 h 6083134"/>
                <a:gd name="connsiteX38" fmla="*/ 4769528 w 9144000"/>
                <a:gd name="connsiteY38" fmla="*/ 4414126 h 6083134"/>
                <a:gd name="connsiteX39" fmla="*/ 6183917 w 9144000"/>
                <a:gd name="connsiteY39" fmla="*/ 4727688 h 6083134"/>
                <a:gd name="connsiteX40" fmla="*/ 7661324 w 9144000"/>
                <a:gd name="connsiteY40" fmla="*/ 4977905 h 6083134"/>
                <a:gd name="connsiteX41" fmla="*/ 9144000 w 9144000"/>
                <a:gd name="connsiteY41" fmla="*/ 5180860 h 6083134"/>
                <a:gd name="connsiteX42" fmla="*/ 9144000 w 9144000"/>
                <a:gd name="connsiteY42" fmla="*/ 6083134 h 6083134"/>
                <a:gd name="connsiteX43" fmla="*/ 4375201 w 9144000"/>
                <a:gd name="connsiteY43" fmla="*/ 6083134 h 6083134"/>
                <a:gd name="connsiteX44" fmla="*/ 3764751 w 9144000"/>
                <a:gd name="connsiteY44" fmla="*/ 5874251 h 6083134"/>
                <a:gd name="connsiteX45" fmla="*/ 3001541 w 9144000"/>
                <a:gd name="connsiteY45" fmla="*/ 5582860 h 6083134"/>
                <a:gd name="connsiteX46" fmla="*/ 2252335 w 9144000"/>
                <a:gd name="connsiteY46" fmla="*/ 5234456 h 6083134"/>
                <a:gd name="connsiteX47" fmla="*/ 1524135 w 9144000"/>
                <a:gd name="connsiteY47" fmla="*/ 4797369 h 6083134"/>
                <a:gd name="connsiteX48" fmla="*/ 1181040 w 9144000"/>
                <a:gd name="connsiteY48" fmla="*/ 4521814 h 6083134"/>
                <a:gd name="connsiteX49" fmla="*/ 879957 w 9144000"/>
                <a:gd name="connsiteY49" fmla="*/ 4186080 h 6083134"/>
                <a:gd name="connsiteX50" fmla="*/ 673400 w 9144000"/>
                <a:gd name="connsiteY50" fmla="*/ 3774331 h 6083134"/>
                <a:gd name="connsiteX51" fmla="*/ 641892 w 9144000"/>
                <a:gd name="connsiteY51" fmla="*/ 3315072 h 6083134"/>
                <a:gd name="connsiteX52" fmla="*/ 645393 w 9144000"/>
                <a:gd name="connsiteY52" fmla="*/ 3286567 h 6083134"/>
                <a:gd name="connsiteX53" fmla="*/ 648456 w 9144000"/>
                <a:gd name="connsiteY53" fmla="*/ 3269938 h 6083134"/>
                <a:gd name="connsiteX54" fmla="*/ 652395 w 9144000"/>
                <a:gd name="connsiteY54" fmla="*/ 3254894 h 6083134"/>
                <a:gd name="connsiteX55" fmla="*/ 655458 w 9144000"/>
                <a:gd name="connsiteY55" fmla="*/ 3246579 h 6083134"/>
                <a:gd name="connsiteX56" fmla="*/ 655896 w 9144000"/>
                <a:gd name="connsiteY56" fmla="*/ 3238265 h 6083134"/>
                <a:gd name="connsiteX57" fmla="*/ 655896 w 9144000"/>
                <a:gd name="connsiteY57" fmla="*/ 3235890 h 6083134"/>
                <a:gd name="connsiteX58" fmla="*/ 658959 w 9144000"/>
                <a:gd name="connsiteY58" fmla="*/ 3230347 h 6083134"/>
                <a:gd name="connsiteX59" fmla="*/ 666398 w 9144000"/>
                <a:gd name="connsiteY59" fmla="*/ 3207384 h 6083134"/>
                <a:gd name="connsiteX60" fmla="*/ 694406 w 9144000"/>
                <a:gd name="connsiteY60" fmla="*/ 3115533 h 6083134"/>
                <a:gd name="connsiteX61" fmla="*/ 778429 w 9144000"/>
                <a:gd name="connsiteY61" fmla="*/ 2925494 h 6083134"/>
                <a:gd name="connsiteX62" fmla="*/ 1062007 w 9144000"/>
                <a:gd name="connsiteY62" fmla="*/ 2548585 h 6083134"/>
                <a:gd name="connsiteX63" fmla="*/ 1506630 w 9144000"/>
                <a:gd name="connsiteY63" fmla="*/ 2222354 h 6083134"/>
                <a:gd name="connsiteX64" fmla="*/ 2031774 w 9144000"/>
                <a:gd name="connsiteY64" fmla="*/ 2016479 h 6083134"/>
                <a:gd name="connsiteX65" fmla="*/ 2532412 w 9144000"/>
                <a:gd name="connsiteY65" fmla="*/ 1905623 h 6083134"/>
                <a:gd name="connsiteX66" fmla="*/ 2984036 w 9144000"/>
                <a:gd name="connsiteY66" fmla="*/ 1851779 h 6083134"/>
                <a:gd name="connsiteX67" fmla="*/ 3386647 w 9144000"/>
                <a:gd name="connsiteY67" fmla="*/ 1816939 h 6083134"/>
                <a:gd name="connsiteX68" fmla="*/ 3726241 w 9144000"/>
                <a:gd name="connsiteY68" fmla="*/ 1782099 h 6083134"/>
                <a:gd name="connsiteX69" fmla="*/ 3967807 w 9144000"/>
                <a:gd name="connsiteY69" fmla="*/ 1740924 h 6083134"/>
                <a:gd name="connsiteX70" fmla="*/ 4030824 w 9144000"/>
                <a:gd name="connsiteY70" fmla="*/ 1725087 h 6083134"/>
                <a:gd name="connsiteX71" fmla="*/ 4072836 w 9144000"/>
                <a:gd name="connsiteY71" fmla="*/ 1709251 h 6083134"/>
                <a:gd name="connsiteX72" fmla="*/ 4111347 w 9144000"/>
                <a:gd name="connsiteY72" fmla="*/ 1680745 h 6083134"/>
                <a:gd name="connsiteX73" fmla="*/ 4142855 w 9144000"/>
                <a:gd name="connsiteY73" fmla="*/ 1623734 h 6083134"/>
                <a:gd name="connsiteX74" fmla="*/ 4139354 w 9144000"/>
                <a:gd name="connsiteY74" fmla="*/ 1452700 h 6083134"/>
                <a:gd name="connsiteX75" fmla="*/ 4072836 w 9144000"/>
                <a:gd name="connsiteY75" fmla="*/ 1392521 h 6083134"/>
                <a:gd name="connsiteX76" fmla="*/ 3852275 w 9144000"/>
                <a:gd name="connsiteY76" fmla="*/ 1259494 h 6083134"/>
                <a:gd name="connsiteX77" fmla="*/ 3558194 w 9144000"/>
                <a:gd name="connsiteY77" fmla="*/ 1132802 h 6083134"/>
                <a:gd name="connsiteX78" fmla="*/ 3232605 w 9144000"/>
                <a:gd name="connsiteY78" fmla="*/ 1018779 h 6083134"/>
                <a:gd name="connsiteX79" fmla="*/ 2528911 w 9144000"/>
                <a:gd name="connsiteY79" fmla="*/ 825574 h 6083134"/>
                <a:gd name="connsiteX80" fmla="*/ 1030499 w 9144000"/>
                <a:gd name="connsiteY80" fmla="*/ 515179 h 6083134"/>
                <a:gd name="connsiteX81" fmla="*/ 0 w 9144000"/>
                <a:gd name="connsiteY81" fmla="*/ 348488 h 6083134"/>
                <a:gd name="connsiteX82" fmla="*/ 0 w 9144000"/>
                <a:gd name="connsiteY82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72084 h 6083134"/>
                <a:gd name="connsiteX30" fmla="*/ 2525410 w 9144000"/>
                <a:gd name="connsiteY30" fmla="*/ 3394255 h 6083134"/>
                <a:gd name="connsiteX31" fmla="*/ 2528911 w 9144000"/>
                <a:gd name="connsiteY31" fmla="*/ 3399797 h 6083134"/>
                <a:gd name="connsiteX32" fmla="*/ 2563921 w 9144000"/>
                <a:gd name="connsiteY32" fmla="*/ 3470270 h 6083134"/>
                <a:gd name="connsiteX33" fmla="*/ 2640942 w 9144000"/>
                <a:gd name="connsiteY33" fmla="*/ 3558954 h 6083134"/>
                <a:gd name="connsiteX34" fmla="*/ 2977035 w 9144000"/>
                <a:gd name="connsiteY34" fmla="*/ 3787000 h 6083134"/>
                <a:gd name="connsiteX35" fmla="*/ 3491676 w 9144000"/>
                <a:gd name="connsiteY35" fmla="*/ 4018213 h 6083134"/>
                <a:gd name="connsiteX36" fmla="*/ 4104345 w 9144000"/>
                <a:gd name="connsiteY36" fmla="*/ 4230422 h 6083134"/>
                <a:gd name="connsiteX37" fmla="*/ 4769528 w 9144000"/>
                <a:gd name="connsiteY37" fmla="*/ 4414126 h 6083134"/>
                <a:gd name="connsiteX38" fmla="*/ 6183917 w 9144000"/>
                <a:gd name="connsiteY38" fmla="*/ 4727688 h 6083134"/>
                <a:gd name="connsiteX39" fmla="*/ 7661324 w 9144000"/>
                <a:gd name="connsiteY39" fmla="*/ 4977905 h 6083134"/>
                <a:gd name="connsiteX40" fmla="*/ 9144000 w 9144000"/>
                <a:gd name="connsiteY40" fmla="*/ 5180860 h 6083134"/>
                <a:gd name="connsiteX41" fmla="*/ 9144000 w 9144000"/>
                <a:gd name="connsiteY41" fmla="*/ 6083134 h 6083134"/>
                <a:gd name="connsiteX42" fmla="*/ 4375201 w 9144000"/>
                <a:gd name="connsiteY42" fmla="*/ 6083134 h 6083134"/>
                <a:gd name="connsiteX43" fmla="*/ 3764751 w 9144000"/>
                <a:gd name="connsiteY43" fmla="*/ 5874251 h 6083134"/>
                <a:gd name="connsiteX44" fmla="*/ 3001541 w 9144000"/>
                <a:gd name="connsiteY44" fmla="*/ 5582860 h 6083134"/>
                <a:gd name="connsiteX45" fmla="*/ 2252335 w 9144000"/>
                <a:gd name="connsiteY45" fmla="*/ 5234456 h 6083134"/>
                <a:gd name="connsiteX46" fmla="*/ 1524135 w 9144000"/>
                <a:gd name="connsiteY46" fmla="*/ 4797369 h 6083134"/>
                <a:gd name="connsiteX47" fmla="*/ 1181040 w 9144000"/>
                <a:gd name="connsiteY47" fmla="*/ 4521814 h 6083134"/>
                <a:gd name="connsiteX48" fmla="*/ 879957 w 9144000"/>
                <a:gd name="connsiteY48" fmla="*/ 4186080 h 6083134"/>
                <a:gd name="connsiteX49" fmla="*/ 673400 w 9144000"/>
                <a:gd name="connsiteY49" fmla="*/ 3774331 h 6083134"/>
                <a:gd name="connsiteX50" fmla="*/ 641892 w 9144000"/>
                <a:gd name="connsiteY50" fmla="*/ 3315072 h 6083134"/>
                <a:gd name="connsiteX51" fmla="*/ 645393 w 9144000"/>
                <a:gd name="connsiteY51" fmla="*/ 3286567 h 6083134"/>
                <a:gd name="connsiteX52" fmla="*/ 648456 w 9144000"/>
                <a:gd name="connsiteY52" fmla="*/ 3269938 h 6083134"/>
                <a:gd name="connsiteX53" fmla="*/ 652395 w 9144000"/>
                <a:gd name="connsiteY53" fmla="*/ 3254894 h 6083134"/>
                <a:gd name="connsiteX54" fmla="*/ 655458 w 9144000"/>
                <a:gd name="connsiteY54" fmla="*/ 3246579 h 6083134"/>
                <a:gd name="connsiteX55" fmla="*/ 655896 w 9144000"/>
                <a:gd name="connsiteY55" fmla="*/ 3238265 h 6083134"/>
                <a:gd name="connsiteX56" fmla="*/ 655896 w 9144000"/>
                <a:gd name="connsiteY56" fmla="*/ 3235890 h 6083134"/>
                <a:gd name="connsiteX57" fmla="*/ 658959 w 9144000"/>
                <a:gd name="connsiteY57" fmla="*/ 3230347 h 6083134"/>
                <a:gd name="connsiteX58" fmla="*/ 666398 w 9144000"/>
                <a:gd name="connsiteY58" fmla="*/ 3207384 h 6083134"/>
                <a:gd name="connsiteX59" fmla="*/ 694406 w 9144000"/>
                <a:gd name="connsiteY59" fmla="*/ 3115533 h 6083134"/>
                <a:gd name="connsiteX60" fmla="*/ 778429 w 9144000"/>
                <a:gd name="connsiteY60" fmla="*/ 2925494 h 6083134"/>
                <a:gd name="connsiteX61" fmla="*/ 1062007 w 9144000"/>
                <a:gd name="connsiteY61" fmla="*/ 2548585 h 6083134"/>
                <a:gd name="connsiteX62" fmla="*/ 1506630 w 9144000"/>
                <a:gd name="connsiteY62" fmla="*/ 2222354 h 6083134"/>
                <a:gd name="connsiteX63" fmla="*/ 2031774 w 9144000"/>
                <a:gd name="connsiteY63" fmla="*/ 2016479 h 6083134"/>
                <a:gd name="connsiteX64" fmla="*/ 2532412 w 9144000"/>
                <a:gd name="connsiteY64" fmla="*/ 1905623 h 6083134"/>
                <a:gd name="connsiteX65" fmla="*/ 2984036 w 9144000"/>
                <a:gd name="connsiteY65" fmla="*/ 1851779 h 6083134"/>
                <a:gd name="connsiteX66" fmla="*/ 3386647 w 9144000"/>
                <a:gd name="connsiteY66" fmla="*/ 1816939 h 6083134"/>
                <a:gd name="connsiteX67" fmla="*/ 3726241 w 9144000"/>
                <a:gd name="connsiteY67" fmla="*/ 1782099 h 6083134"/>
                <a:gd name="connsiteX68" fmla="*/ 3967807 w 9144000"/>
                <a:gd name="connsiteY68" fmla="*/ 1740924 h 6083134"/>
                <a:gd name="connsiteX69" fmla="*/ 4030824 w 9144000"/>
                <a:gd name="connsiteY69" fmla="*/ 1725087 h 6083134"/>
                <a:gd name="connsiteX70" fmla="*/ 4072836 w 9144000"/>
                <a:gd name="connsiteY70" fmla="*/ 1709251 h 6083134"/>
                <a:gd name="connsiteX71" fmla="*/ 4111347 w 9144000"/>
                <a:gd name="connsiteY71" fmla="*/ 1680745 h 6083134"/>
                <a:gd name="connsiteX72" fmla="*/ 4142855 w 9144000"/>
                <a:gd name="connsiteY72" fmla="*/ 1623734 h 6083134"/>
                <a:gd name="connsiteX73" fmla="*/ 4139354 w 9144000"/>
                <a:gd name="connsiteY73" fmla="*/ 1452700 h 6083134"/>
                <a:gd name="connsiteX74" fmla="*/ 4072836 w 9144000"/>
                <a:gd name="connsiteY74" fmla="*/ 1392521 h 6083134"/>
                <a:gd name="connsiteX75" fmla="*/ 3852275 w 9144000"/>
                <a:gd name="connsiteY75" fmla="*/ 1259494 h 6083134"/>
                <a:gd name="connsiteX76" fmla="*/ 3558194 w 9144000"/>
                <a:gd name="connsiteY76" fmla="*/ 1132802 h 6083134"/>
                <a:gd name="connsiteX77" fmla="*/ 3232605 w 9144000"/>
                <a:gd name="connsiteY77" fmla="*/ 1018779 h 6083134"/>
                <a:gd name="connsiteX78" fmla="*/ 2528911 w 9144000"/>
                <a:gd name="connsiteY78" fmla="*/ 825574 h 6083134"/>
                <a:gd name="connsiteX79" fmla="*/ 1030499 w 9144000"/>
                <a:gd name="connsiteY79" fmla="*/ 515179 h 6083134"/>
                <a:gd name="connsiteX80" fmla="*/ 0 w 9144000"/>
                <a:gd name="connsiteY80" fmla="*/ 348488 h 6083134"/>
                <a:gd name="connsiteX81" fmla="*/ 0 w 9144000"/>
                <a:gd name="connsiteY81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94255 h 6083134"/>
                <a:gd name="connsiteX30" fmla="*/ 2528911 w 9144000"/>
                <a:gd name="connsiteY30" fmla="*/ 3399797 h 6083134"/>
                <a:gd name="connsiteX31" fmla="*/ 2563921 w 9144000"/>
                <a:gd name="connsiteY31" fmla="*/ 3470270 h 6083134"/>
                <a:gd name="connsiteX32" fmla="*/ 2640942 w 9144000"/>
                <a:gd name="connsiteY32" fmla="*/ 3558954 h 6083134"/>
                <a:gd name="connsiteX33" fmla="*/ 2977035 w 9144000"/>
                <a:gd name="connsiteY33" fmla="*/ 3787000 h 6083134"/>
                <a:gd name="connsiteX34" fmla="*/ 3491676 w 9144000"/>
                <a:gd name="connsiteY34" fmla="*/ 4018213 h 6083134"/>
                <a:gd name="connsiteX35" fmla="*/ 4104345 w 9144000"/>
                <a:gd name="connsiteY35" fmla="*/ 4230422 h 6083134"/>
                <a:gd name="connsiteX36" fmla="*/ 4769528 w 9144000"/>
                <a:gd name="connsiteY36" fmla="*/ 4414126 h 6083134"/>
                <a:gd name="connsiteX37" fmla="*/ 6183917 w 9144000"/>
                <a:gd name="connsiteY37" fmla="*/ 4727688 h 6083134"/>
                <a:gd name="connsiteX38" fmla="*/ 7661324 w 9144000"/>
                <a:gd name="connsiteY38" fmla="*/ 4977905 h 6083134"/>
                <a:gd name="connsiteX39" fmla="*/ 9144000 w 9144000"/>
                <a:gd name="connsiteY39" fmla="*/ 5180860 h 6083134"/>
                <a:gd name="connsiteX40" fmla="*/ 9144000 w 9144000"/>
                <a:gd name="connsiteY40" fmla="*/ 6083134 h 6083134"/>
                <a:gd name="connsiteX41" fmla="*/ 4375201 w 9144000"/>
                <a:gd name="connsiteY41" fmla="*/ 6083134 h 6083134"/>
                <a:gd name="connsiteX42" fmla="*/ 3764751 w 9144000"/>
                <a:gd name="connsiteY42" fmla="*/ 5874251 h 6083134"/>
                <a:gd name="connsiteX43" fmla="*/ 3001541 w 9144000"/>
                <a:gd name="connsiteY43" fmla="*/ 5582860 h 6083134"/>
                <a:gd name="connsiteX44" fmla="*/ 2252335 w 9144000"/>
                <a:gd name="connsiteY44" fmla="*/ 5234456 h 6083134"/>
                <a:gd name="connsiteX45" fmla="*/ 1524135 w 9144000"/>
                <a:gd name="connsiteY45" fmla="*/ 4797369 h 6083134"/>
                <a:gd name="connsiteX46" fmla="*/ 1181040 w 9144000"/>
                <a:gd name="connsiteY46" fmla="*/ 4521814 h 6083134"/>
                <a:gd name="connsiteX47" fmla="*/ 879957 w 9144000"/>
                <a:gd name="connsiteY47" fmla="*/ 4186080 h 6083134"/>
                <a:gd name="connsiteX48" fmla="*/ 673400 w 9144000"/>
                <a:gd name="connsiteY48" fmla="*/ 3774331 h 6083134"/>
                <a:gd name="connsiteX49" fmla="*/ 641892 w 9144000"/>
                <a:gd name="connsiteY49" fmla="*/ 3315072 h 6083134"/>
                <a:gd name="connsiteX50" fmla="*/ 645393 w 9144000"/>
                <a:gd name="connsiteY50" fmla="*/ 3286567 h 6083134"/>
                <a:gd name="connsiteX51" fmla="*/ 648456 w 9144000"/>
                <a:gd name="connsiteY51" fmla="*/ 3269938 h 6083134"/>
                <a:gd name="connsiteX52" fmla="*/ 652395 w 9144000"/>
                <a:gd name="connsiteY52" fmla="*/ 3254894 h 6083134"/>
                <a:gd name="connsiteX53" fmla="*/ 655458 w 9144000"/>
                <a:gd name="connsiteY53" fmla="*/ 3246579 h 6083134"/>
                <a:gd name="connsiteX54" fmla="*/ 655896 w 9144000"/>
                <a:gd name="connsiteY54" fmla="*/ 3238265 h 6083134"/>
                <a:gd name="connsiteX55" fmla="*/ 655896 w 9144000"/>
                <a:gd name="connsiteY55" fmla="*/ 3235890 h 6083134"/>
                <a:gd name="connsiteX56" fmla="*/ 658959 w 9144000"/>
                <a:gd name="connsiteY56" fmla="*/ 3230347 h 6083134"/>
                <a:gd name="connsiteX57" fmla="*/ 666398 w 9144000"/>
                <a:gd name="connsiteY57" fmla="*/ 3207384 h 6083134"/>
                <a:gd name="connsiteX58" fmla="*/ 694406 w 9144000"/>
                <a:gd name="connsiteY58" fmla="*/ 3115533 h 6083134"/>
                <a:gd name="connsiteX59" fmla="*/ 778429 w 9144000"/>
                <a:gd name="connsiteY59" fmla="*/ 2925494 h 6083134"/>
                <a:gd name="connsiteX60" fmla="*/ 1062007 w 9144000"/>
                <a:gd name="connsiteY60" fmla="*/ 2548585 h 6083134"/>
                <a:gd name="connsiteX61" fmla="*/ 1506630 w 9144000"/>
                <a:gd name="connsiteY61" fmla="*/ 2222354 h 6083134"/>
                <a:gd name="connsiteX62" fmla="*/ 2031774 w 9144000"/>
                <a:gd name="connsiteY62" fmla="*/ 2016479 h 6083134"/>
                <a:gd name="connsiteX63" fmla="*/ 2532412 w 9144000"/>
                <a:gd name="connsiteY63" fmla="*/ 1905623 h 6083134"/>
                <a:gd name="connsiteX64" fmla="*/ 2984036 w 9144000"/>
                <a:gd name="connsiteY64" fmla="*/ 1851779 h 6083134"/>
                <a:gd name="connsiteX65" fmla="*/ 3386647 w 9144000"/>
                <a:gd name="connsiteY65" fmla="*/ 1816939 h 6083134"/>
                <a:gd name="connsiteX66" fmla="*/ 3726241 w 9144000"/>
                <a:gd name="connsiteY66" fmla="*/ 1782099 h 6083134"/>
                <a:gd name="connsiteX67" fmla="*/ 3967807 w 9144000"/>
                <a:gd name="connsiteY67" fmla="*/ 1740924 h 6083134"/>
                <a:gd name="connsiteX68" fmla="*/ 4030824 w 9144000"/>
                <a:gd name="connsiteY68" fmla="*/ 1725087 h 6083134"/>
                <a:gd name="connsiteX69" fmla="*/ 4072836 w 9144000"/>
                <a:gd name="connsiteY69" fmla="*/ 1709251 h 6083134"/>
                <a:gd name="connsiteX70" fmla="*/ 4111347 w 9144000"/>
                <a:gd name="connsiteY70" fmla="*/ 1680745 h 6083134"/>
                <a:gd name="connsiteX71" fmla="*/ 4142855 w 9144000"/>
                <a:gd name="connsiteY71" fmla="*/ 1623734 h 6083134"/>
                <a:gd name="connsiteX72" fmla="*/ 4139354 w 9144000"/>
                <a:gd name="connsiteY72" fmla="*/ 1452700 h 6083134"/>
                <a:gd name="connsiteX73" fmla="*/ 4072836 w 9144000"/>
                <a:gd name="connsiteY73" fmla="*/ 1392521 h 6083134"/>
                <a:gd name="connsiteX74" fmla="*/ 3852275 w 9144000"/>
                <a:gd name="connsiteY74" fmla="*/ 1259494 h 6083134"/>
                <a:gd name="connsiteX75" fmla="*/ 3558194 w 9144000"/>
                <a:gd name="connsiteY75" fmla="*/ 1132802 h 6083134"/>
                <a:gd name="connsiteX76" fmla="*/ 3232605 w 9144000"/>
                <a:gd name="connsiteY76" fmla="*/ 1018779 h 6083134"/>
                <a:gd name="connsiteX77" fmla="*/ 2528911 w 9144000"/>
                <a:gd name="connsiteY77" fmla="*/ 825574 h 6083134"/>
                <a:gd name="connsiteX78" fmla="*/ 1030499 w 9144000"/>
                <a:gd name="connsiteY78" fmla="*/ 515179 h 6083134"/>
                <a:gd name="connsiteX79" fmla="*/ 0 w 9144000"/>
                <a:gd name="connsiteY79" fmla="*/ 348488 h 6083134"/>
                <a:gd name="connsiteX80" fmla="*/ 0 w 9144000"/>
                <a:gd name="connsiteY80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94255 h 6083134"/>
                <a:gd name="connsiteX30" fmla="*/ 2563921 w 9144000"/>
                <a:gd name="connsiteY30" fmla="*/ 3470270 h 6083134"/>
                <a:gd name="connsiteX31" fmla="*/ 2640942 w 9144000"/>
                <a:gd name="connsiteY31" fmla="*/ 3558954 h 6083134"/>
                <a:gd name="connsiteX32" fmla="*/ 2977035 w 9144000"/>
                <a:gd name="connsiteY32" fmla="*/ 3787000 h 6083134"/>
                <a:gd name="connsiteX33" fmla="*/ 3491676 w 9144000"/>
                <a:gd name="connsiteY33" fmla="*/ 4018213 h 6083134"/>
                <a:gd name="connsiteX34" fmla="*/ 4104345 w 9144000"/>
                <a:gd name="connsiteY34" fmla="*/ 4230422 h 6083134"/>
                <a:gd name="connsiteX35" fmla="*/ 4769528 w 9144000"/>
                <a:gd name="connsiteY35" fmla="*/ 4414126 h 6083134"/>
                <a:gd name="connsiteX36" fmla="*/ 6183917 w 9144000"/>
                <a:gd name="connsiteY36" fmla="*/ 4727688 h 6083134"/>
                <a:gd name="connsiteX37" fmla="*/ 7661324 w 9144000"/>
                <a:gd name="connsiteY37" fmla="*/ 4977905 h 6083134"/>
                <a:gd name="connsiteX38" fmla="*/ 9144000 w 9144000"/>
                <a:gd name="connsiteY38" fmla="*/ 5180860 h 6083134"/>
                <a:gd name="connsiteX39" fmla="*/ 9144000 w 9144000"/>
                <a:gd name="connsiteY39" fmla="*/ 6083134 h 6083134"/>
                <a:gd name="connsiteX40" fmla="*/ 4375201 w 9144000"/>
                <a:gd name="connsiteY40" fmla="*/ 6083134 h 6083134"/>
                <a:gd name="connsiteX41" fmla="*/ 3764751 w 9144000"/>
                <a:gd name="connsiteY41" fmla="*/ 5874251 h 6083134"/>
                <a:gd name="connsiteX42" fmla="*/ 3001541 w 9144000"/>
                <a:gd name="connsiteY42" fmla="*/ 5582860 h 6083134"/>
                <a:gd name="connsiteX43" fmla="*/ 2252335 w 9144000"/>
                <a:gd name="connsiteY43" fmla="*/ 5234456 h 6083134"/>
                <a:gd name="connsiteX44" fmla="*/ 1524135 w 9144000"/>
                <a:gd name="connsiteY44" fmla="*/ 4797369 h 6083134"/>
                <a:gd name="connsiteX45" fmla="*/ 1181040 w 9144000"/>
                <a:gd name="connsiteY45" fmla="*/ 4521814 h 6083134"/>
                <a:gd name="connsiteX46" fmla="*/ 879957 w 9144000"/>
                <a:gd name="connsiteY46" fmla="*/ 4186080 h 6083134"/>
                <a:gd name="connsiteX47" fmla="*/ 673400 w 9144000"/>
                <a:gd name="connsiteY47" fmla="*/ 3774331 h 6083134"/>
                <a:gd name="connsiteX48" fmla="*/ 641892 w 9144000"/>
                <a:gd name="connsiteY48" fmla="*/ 3315072 h 6083134"/>
                <a:gd name="connsiteX49" fmla="*/ 645393 w 9144000"/>
                <a:gd name="connsiteY49" fmla="*/ 3286567 h 6083134"/>
                <a:gd name="connsiteX50" fmla="*/ 648456 w 9144000"/>
                <a:gd name="connsiteY50" fmla="*/ 3269938 h 6083134"/>
                <a:gd name="connsiteX51" fmla="*/ 652395 w 9144000"/>
                <a:gd name="connsiteY51" fmla="*/ 3254894 h 6083134"/>
                <a:gd name="connsiteX52" fmla="*/ 655458 w 9144000"/>
                <a:gd name="connsiteY52" fmla="*/ 3246579 h 6083134"/>
                <a:gd name="connsiteX53" fmla="*/ 655896 w 9144000"/>
                <a:gd name="connsiteY53" fmla="*/ 3238265 h 6083134"/>
                <a:gd name="connsiteX54" fmla="*/ 655896 w 9144000"/>
                <a:gd name="connsiteY54" fmla="*/ 3235890 h 6083134"/>
                <a:gd name="connsiteX55" fmla="*/ 658959 w 9144000"/>
                <a:gd name="connsiteY55" fmla="*/ 3230347 h 6083134"/>
                <a:gd name="connsiteX56" fmla="*/ 666398 w 9144000"/>
                <a:gd name="connsiteY56" fmla="*/ 3207384 h 6083134"/>
                <a:gd name="connsiteX57" fmla="*/ 694406 w 9144000"/>
                <a:gd name="connsiteY57" fmla="*/ 3115533 h 6083134"/>
                <a:gd name="connsiteX58" fmla="*/ 778429 w 9144000"/>
                <a:gd name="connsiteY58" fmla="*/ 2925494 h 6083134"/>
                <a:gd name="connsiteX59" fmla="*/ 1062007 w 9144000"/>
                <a:gd name="connsiteY59" fmla="*/ 2548585 h 6083134"/>
                <a:gd name="connsiteX60" fmla="*/ 1506630 w 9144000"/>
                <a:gd name="connsiteY60" fmla="*/ 2222354 h 6083134"/>
                <a:gd name="connsiteX61" fmla="*/ 2031774 w 9144000"/>
                <a:gd name="connsiteY61" fmla="*/ 2016479 h 6083134"/>
                <a:gd name="connsiteX62" fmla="*/ 2532412 w 9144000"/>
                <a:gd name="connsiteY62" fmla="*/ 1905623 h 6083134"/>
                <a:gd name="connsiteX63" fmla="*/ 2984036 w 9144000"/>
                <a:gd name="connsiteY63" fmla="*/ 1851779 h 6083134"/>
                <a:gd name="connsiteX64" fmla="*/ 3386647 w 9144000"/>
                <a:gd name="connsiteY64" fmla="*/ 1816939 h 6083134"/>
                <a:gd name="connsiteX65" fmla="*/ 3726241 w 9144000"/>
                <a:gd name="connsiteY65" fmla="*/ 1782099 h 6083134"/>
                <a:gd name="connsiteX66" fmla="*/ 3967807 w 9144000"/>
                <a:gd name="connsiteY66" fmla="*/ 1740924 h 6083134"/>
                <a:gd name="connsiteX67" fmla="*/ 4030824 w 9144000"/>
                <a:gd name="connsiteY67" fmla="*/ 1725087 h 6083134"/>
                <a:gd name="connsiteX68" fmla="*/ 4072836 w 9144000"/>
                <a:gd name="connsiteY68" fmla="*/ 1709251 h 6083134"/>
                <a:gd name="connsiteX69" fmla="*/ 4111347 w 9144000"/>
                <a:gd name="connsiteY69" fmla="*/ 1680745 h 6083134"/>
                <a:gd name="connsiteX70" fmla="*/ 4142855 w 9144000"/>
                <a:gd name="connsiteY70" fmla="*/ 1623734 h 6083134"/>
                <a:gd name="connsiteX71" fmla="*/ 4139354 w 9144000"/>
                <a:gd name="connsiteY71" fmla="*/ 1452700 h 6083134"/>
                <a:gd name="connsiteX72" fmla="*/ 4072836 w 9144000"/>
                <a:gd name="connsiteY72" fmla="*/ 1392521 h 6083134"/>
                <a:gd name="connsiteX73" fmla="*/ 3852275 w 9144000"/>
                <a:gd name="connsiteY73" fmla="*/ 1259494 h 6083134"/>
                <a:gd name="connsiteX74" fmla="*/ 3558194 w 9144000"/>
                <a:gd name="connsiteY74" fmla="*/ 1132802 h 6083134"/>
                <a:gd name="connsiteX75" fmla="*/ 3232605 w 9144000"/>
                <a:gd name="connsiteY75" fmla="*/ 1018779 h 6083134"/>
                <a:gd name="connsiteX76" fmla="*/ 2528911 w 9144000"/>
                <a:gd name="connsiteY76" fmla="*/ 825574 h 6083134"/>
                <a:gd name="connsiteX77" fmla="*/ 1030499 w 9144000"/>
                <a:gd name="connsiteY77" fmla="*/ 515179 h 6083134"/>
                <a:gd name="connsiteX78" fmla="*/ 0 w 9144000"/>
                <a:gd name="connsiteY78" fmla="*/ 348488 h 6083134"/>
                <a:gd name="connsiteX79" fmla="*/ 0 w 9144000"/>
                <a:gd name="connsiteY79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63921 w 9144000"/>
                <a:gd name="connsiteY29" fmla="*/ 3470270 h 6083134"/>
                <a:gd name="connsiteX30" fmla="*/ 2640942 w 9144000"/>
                <a:gd name="connsiteY30" fmla="*/ 3558954 h 6083134"/>
                <a:gd name="connsiteX31" fmla="*/ 2977035 w 9144000"/>
                <a:gd name="connsiteY31" fmla="*/ 3787000 h 6083134"/>
                <a:gd name="connsiteX32" fmla="*/ 3491676 w 9144000"/>
                <a:gd name="connsiteY32" fmla="*/ 4018213 h 6083134"/>
                <a:gd name="connsiteX33" fmla="*/ 4104345 w 9144000"/>
                <a:gd name="connsiteY33" fmla="*/ 4230422 h 6083134"/>
                <a:gd name="connsiteX34" fmla="*/ 4769528 w 9144000"/>
                <a:gd name="connsiteY34" fmla="*/ 4414126 h 6083134"/>
                <a:gd name="connsiteX35" fmla="*/ 6183917 w 9144000"/>
                <a:gd name="connsiteY35" fmla="*/ 4727688 h 6083134"/>
                <a:gd name="connsiteX36" fmla="*/ 7661324 w 9144000"/>
                <a:gd name="connsiteY36" fmla="*/ 4977905 h 6083134"/>
                <a:gd name="connsiteX37" fmla="*/ 9144000 w 9144000"/>
                <a:gd name="connsiteY37" fmla="*/ 5180860 h 6083134"/>
                <a:gd name="connsiteX38" fmla="*/ 9144000 w 9144000"/>
                <a:gd name="connsiteY38" fmla="*/ 6083134 h 6083134"/>
                <a:gd name="connsiteX39" fmla="*/ 4375201 w 9144000"/>
                <a:gd name="connsiteY39" fmla="*/ 6083134 h 6083134"/>
                <a:gd name="connsiteX40" fmla="*/ 3764751 w 9144000"/>
                <a:gd name="connsiteY40" fmla="*/ 5874251 h 6083134"/>
                <a:gd name="connsiteX41" fmla="*/ 3001541 w 9144000"/>
                <a:gd name="connsiteY41" fmla="*/ 5582860 h 6083134"/>
                <a:gd name="connsiteX42" fmla="*/ 2252335 w 9144000"/>
                <a:gd name="connsiteY42" fmla="*/ 5234456 h 6083134"/>
                <a:gd name="connsiteX43" fmla="*/ 1524135 w 9144000"/>
                <a:gd name="connsiteY43" fmla="*/ 4797369 h 6083134"/>
                <a:gd name="connsiteX44" fmla="*/ 1181040 w 9144000"/>
                <a:gd name="connsiteY44" fmla="*/ 4521814 h 6083134"/>
                <a:gd name="connsiteX45" fmla="*/ 879957 w 9144000"/>
                <a:gd name="connsiteY45" fmla="*/ 4186080 h 6083134"/>
                <a:gd name="connsiteX46" fmla="*/ 673400 w 9144000"/>
                <a:gd name="connsiteY46" fmla="*/ 3774331 h 6083134"/>
                <a:gd name="connsiteX47" fmla="*/ 641892 w 9144000"/>
                <a:gd name="connsiteY47" fmla="*/ 3315072 h 6083134"/>
                <a:gd name="connsiteX48" fmla="*/ 645393 w 9144000"/>
                <a:gd name="connsiteY48" fmla="*/ 3286567 h 6083134"/>
                <a:gd name="connsiteX49" fmla="*/ 648456 w 9144000"/>
                <a:gd name="connsiteY49" fmla="*/ 3269938 h 6083134"/>
                <a:gd name="connsiteX50" fmla="*/ 652395 w 9144000"/>
                <a:gd name="connsiteY50" fmla="*/ 3254894 h 6083134"/>
                <a:gd name="connsiteX51" fmla="*/ 655458 w 9144000"/>
                <a:gd name="connsiteY51" fmla="*/ 3246579 h 6083134"/>
                <a:gd name="connsiteX52" fmla="*/ 655896 w 9144000"/>
                <a:gd name="connsiteY52" fmla="*/ 3238265 h 6083134"/>
                <a:gd name="connsiteX53" fmla="*/ 655896 w 9144000"/>
                <a:gd name="connsiteY53" fmla="*/ 3235890 h 6083134"/>
                <a:gd name="connsiteX54" fmla="*/ 658959 w 9144000"/>
                <a:gd name="connsiteY54" fmla="*/ 3230347 h 6083134"/>
                <a:gd name="connsiteX55" fmla="*/ 666398 w 9144000"/>
                <a:gd name="connsiteY55" fmla="*/ 3207384 h 6083134"/>
                <a:gd name="connsiteX56" fmla="*/ 694406 w 9144000"/>
                <a:gd name="connsiteY56" fmla="*/ 3115533 h 6083134"/>
                <a:gd name="connsiteX57" fmla="*/ 778429 w 9144000"/>
                <a:gd name="connsiteY57" fmla="*/ 2925494 h 6083134"/>
                <a:gd name="connsiteX58" fmla="*/ 1062007 w 9144000"/>
                <a:gd name="connsiteY58" fmla="*/ 2548585 h 6083134"/>
                <a:gd name="connsiteX59" fmla="*/ 1506630 w 9144000"/>
                <a:gd name="connsiteY59" fmla="*/ 2222354 h 6083134"/>
                <a:gd name="connsiteX60" fmla="*/ 2031774 w 9144000"/>
                <a:gd name="connsiteY60" fmla="*/ 2016479 h 6083134"/>
                <a:gd name="connsiteX61" fmla="*/ 2532412 w 9144000"/>
                <a:gd name="connsiteY61" fmla="*/ 1905623 h 6083134"/>
                <a:gd name="connsiteX62" fmla="*/ 2984036 w 9144000"/>
                <a:gd name="connsiteY62" fmla="*/ 1851779 h 6083134"/>
                <a:gd name="connsiteX63" fmla="*/ 3386647 w 9144000"/>
                <a:gd name="connsiteY63" fmla="*/ 1816939 h 6083134"/>
                <a:gd name="connsiteX64" fmla="*/ 3726241 w 9144000"/>
                <a:gd name="connsiteY64" fmla="*/ 1782099 h 6083134"/>
                <a:gd name="connsiteX65" fmla="*/ 3967807 w 9144000"/>
                <a:gd name="connsiteY65" fmla="*/ 1740924 h 6083134"/>
                <a:gd name="connsiteX66" fmla="*/ 4030824 w 9144000"/>
                <a:gd name="connsiteY66" fmla="*/ 1725087 h 6083134"/>
                <a:gd name="connsiteX67" fmla="*/ 4072836 w 9144000"/>
                <a:gd name="connsiteY67" fmla="*/ 1709251 h 6083134"/>
                <a:gd name="connsiteX68" fmla="*/ 4111347 w 9144000"/>
                <a:gd name="connsiteY68" fmla="*/ 1680745 h 6083134"/>
                <a:gd name="connsiteX69" fmla="*/ 4142855 w 9144000"/>
                <a:gd name="connsiteY69" fmla="*/ 1623734 h 6083134"/>
                <a:gd name="connsiteX70" fmla="*/ 4139354 w 9144000"/>
                <a:gd name="connsiteY70" fmla="*/ 1452700 h 6083134"/>
                <a:gd name="connsiteX71" fmla="*/ 4072836 w 9144000"/>
                <a:gd name="connsiteY71" fmla="*/ 1392521 h 6083134"/>
                <a:gd name="connsiteX72" fmla="*/ 3852275 w 9144000"/>
                <a:gd name="connsiteY72" fmla="*/ 1259494 h 6083134"/>
                <a:gd name="connsiteX73" fmla="*/ 3558194 w 9144000"/>
                <a:gd name="connsiteY73" fmla="*/ 1132802 h 6083134"/>
                <a:gd name="connsiteX74" fmla="*/ 3232605 w 9144000"/>
                <a:gd name="connsiteY74" fmla="*/ 1018779 h 6083134"/>
                <a:gd name="connsiteX75" fmla="*/ 2528911 w 9144000"/>
                <a:gd name="connsiteY75" fmla="*/ 825574 h 6083134"/>
                <a:gd name="connsiteX76" fmla="*/ 1030499 w 9144000"/>
                <a:gd name="connsiteY76" fmla="*/ 515179 h 6083134"/>
                <a:gd name="connsiteX77" fmla="*/ 0 w 9144000"/>
                <a:gd name="connsiteY77" fmla="*/ 348488 h 6083134"/>
                <a:gd name="connsiteX78" fmla="*/ 0 w 9144000"/>
                <a:gd name="connsiteY78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63921 w 9144000"/>
                <a:gd name="connsiteY29" fmla="*/ 3470270 h 6083134"/>
                <a:gd name="connsiteX30" fmla="*/ 2640942 w 9144000"/>
                <a:gd name="connsiteY30" fmla="*/ 3558954 h 6083134"/>
                <a:gd name="connsiteX31" fmla="*/ 2977035 w 9144000"/>
                <a:gd name="connsiteY31" fmla="*/ 3787000 h 6083134"/>
                <a:gd name="connsiteX32" fmla="*/ 3491676 w 9144000"/>
                <a:gd name="connsiteY32" fmla="*/ 4018213 h 6083134"/>
                <a:gd name="connsiteX33" fmla="*/ 4104345 w 9144000"/>
                <a:gd name="connsiteY33" fmla="*/ 4230422 h 6083134"/>
                <a:gd name="connsiteX34" fmla="*/ 4769528 w 9144000"/>
                <a:gd name="connsiteY34" fmla="*/ 4414126 h 6083134"/>
                <a:gd name="connsiteX35" fmla="*/ 6183917 w 9144000"/>
                <a:gd name="connsiteY35" fmla="*/ 4727688 h 6083134"/>
                <a:gd name="connsiteX36" fmla="*/ 7661324 w 9144000"/>
                <a:gd name="connsiteY36" fmla="*/ 4977905 h 6083134"/>
                <a:gd name="connsiteX37" fmla="*/ 9144000 w 9144000"/>
                <a:gd name="connsiteY37" fmla="*/ 5180860 h 6083134"/>
                <a:gd name="connsiteX38" fmla="*/ 9144000 w 9144000"/>
                <a:gd name="connsiteY38" fmla="*/ 6083134 h 6083134"/>
                <a:gd name="connsiteX39" fmla="*/ 4375201 w 9144000"/>
                <a:gd name="connsiteY39" fmla="*/ 6083134 h 6083134"/>
                <a:gd name="connsiteX40" fmla="*/ 3764751 w 9144000"/>
                <a:gd name="connsiteY40" fmla="*/ 5874251 h 6083134"/>
                <a:gd name="connsiteX41" fmla="*/ 3001541 w 9144000"/>
                <a:gd name="connsiteY41" fmla="*/ 5582860 h 6083134"/>
                <a:gd name="connsiteX42" fmla="*/ 2252335 w 9144000"/>
                <a:gd name="connsiteY42" fmla="*/ 5234456 h 6083134"/>
                <a:gd name="connsiteX43" fmla="*/ 1524135 w 9144000"/>
                <a:gd name="connsiteY43" fmla="*/ 4797369 h 6083134"/>
                <a:gd name="connsiteX44" fmla="*/ 1181040 w 9144000"/>
                <a:gd name="connsiteY44" fmla="*/ 4521814 h 6083134"/>
                <a:gd name="connsiteX45" fmla="*/ 879957 w 9144000"/>
                <a:gd name="connsiteY45" fmla="*/ 4186080 h 6083134"/>
                <a:gd name="connsiteX46" fmla="*/ 673400 w 9144000"/>
                <a:gd name="connsiteY46" fmla="*/ 3774331 h 6083134"/>
                <a:gd name="connsiteX47" fmla="*/ 641892 w 9144000"/>
                <a:gd name="connsiteY47" fmla="*/ 3315072 h 6083134"/>
                <a:gd name="connsiteX48" fmla="*/ 645393 w 9144000"/>
                <a:gd name="connsiteY48" fmla="*/ 3286567 h 6083134"/>
                <a:gd name="connsiteX49" fmla="*/ 648456 w 9144000"/>
                <a:gd name="connsiteY49" fmla="*/ 3269938 h 6083134"/>
                <a:gd name="connsiteX50" fmla="*/ 652395 w 9144000"/>
                <a:gd name="connsiteY50" fmla="*/ 3254894 h 6083134"/>
                <a:gd name="connsiteX51" fmla="*/ 655458 w 9144000"/>
                <a:gd name="connsiteY51" fmla="*/ 3246579 h 6083134"/>
                <a:gd name="connsiteX52" fmla="*/ 655896 w 9144000"/>
                <a:gd name="connsiteY52" fmla="*/ 3238265 h 6083134"/>
                <a:gd name="connsiteX53" fmla="*/ 655896 w 9144000"/>
                <a:gd name="connsiteY53" fmla="*/ 3235890 h 6083134"/>
                <a:gd name="connsiteX54" fmla="*/ 658959 w 9144000"/>
                <a:gd name="connsiteY54" fmla="*/ 3230347 h 6083134"/>
                <a:gd name="connsiteX55" fmla="*/ 666398 w 9144000"/>
                <a:gd name="connsiteY55" fmla="*/ 3207384 h 6083134"/>
                <a:gd name="connsiteX56" fmla="*/ 694406 w 9144000"/>
                <a:gd name="connsiteY56" fmla="*/ 3115533 h 6083134"/>
                <a:gd name="connsiteX57" fmla="*/ 778429 w 9144000"/>
                <a:gd name="connsiteY57" fmla="*/ 2925494 h 6083134"/>
                <a:gd name="connsiteX58" fmla="*/ 1062007 w 9144000"/>
                <a:gd name="connsiteY58" fmla="*/ 2548585 h 6083134"/>
                <a:gd name="connsiteX59" fmla="*/ 1506630 w 9144000"/>
                <a:gd name="connsiteY59" fmla="*/ 2222354 h 6083134"/>
                <a:gd name="connsiteX60" fmla="*/ 2031774 w 9144000"/>
                <a:gd name="connsiteY60" fmla="*/ 2016479 h 6083134"/>
                <a:gd name="connsiteX61" fmla="*/ 2532412 w 9144000"/>
                <a:gd name="connsiteY61" fmla="*/ 1905623 h 6083134"/>
                <a:gd name="connsiteX62" fmla="*/ 2984036 w 9144000"/>
                <a:gd name="connsiteY62" fmla="*/ 1851779 h 6083134"/>
                <a:gd name="connsiteX63" fmla="*/ 3386647 w 9144000"/>
                <a:gd name="connsiteY63" fmla="*/ 1816939 h 6083134"/>
                <a:gd name="connsiteX64" fmla="*/ 3726241 w 9144000"/>
                <a:gd name="connsiteY64" fmla="*/ 1782099 h 6083134"/>
                <a:gd name="connsiteX65" fmla="*/ 3967807 w 9144000"/>
                <a:gd name="connsiteY65" fmla="*/ 1740924 h 6083134"/>
                <a:gd name="connsiteX66" fmla="*/ 4030824 w 9144000"/>
                <a:gd name="connsiteY66" fmla="*/ 1725087 h 6083134"/>
                <a:gd name="connsiteX67" fmla="*/ 4072836 w 9144000"/>
                <a:gd name="connsiteY67" fmla="*/ 1709251 h 6083134"/>
                <a:gd name="connsiteX68" fmla="*/ 4111347 w 9144000"/>
                <a:gd name="connsiteY68" fmla="*/ 1680745 h 6083134"/>
                <a:gd name="connsiteX69" fmla="*/ 4142855 w 9144000"/>
                <a:gd name="connsiteY69" fmla="*/ 1623734 h 6083134"/>
                <a:gd name="connsiteX70" fmla="*/ 4139354 w 9144000"/>
                <a:gd name="connsiteY70" fmla="*/ 1452700 h 6083134"/>
                <a:gd name="connsiteX71" fmla="*/ 4072836 w 9144000"/>
                <a:gd name="connsiteY71" fmla="*/ 1392521 h 6083134"/>
                <a:gd name="connsiteX72" fmla="*/ 3852275 w 9144000"/>
                <a:gd name="connsiteY72" fmla="*/ 1259494 h 6083134"/>
                <a:gd name="connsiteX73" fmla="*/ 3558194 w 9144000"/>
                <a:gd name="connsiteY73" fmla="*/ 1132802 h 6083134"/>
                <a:gd name="connsiteX74" fmla="*/ 3232605 w 9144000"/>
                <a:gd name="connsiteY74" fmla="*/ 1018779 h 6083134"/>
                <a:gd name="connsiteX75" fmla="*/ 2528911 w 9144000"/>
                <a:gd name="connsiteY75" fmla="*/ 825574 h 6083134"/>
                <a:gd name="connsiteX76" fmla="*/ 1030499 w 9144000"/>
                <a:gd name="connsiteY76" fmla="*/ 515179 h 6083134"/>
                <a:gd name="connsiteX77" fmla="*/ 0 w 9144000"/>
                <a:gd name="connsiteY77" fmla="*/ 348488 h 6083134"/>
                <a:gd name="connsiteX78" fmla="*/ 0 w 9144000"/>
                <a:gd name="connsiteY78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63921 w 9144000"/>
                <a:gd name="connsiteY29" fmla="*/ 3470270 h 6083134"/>
                <a:gd name="connsiteX30" fmla="*/ 2640942 w 9144000"/>
                <a:gd name="connsiteY30" fmla="*/ 3558954 h 6083134"/>
                <a:gd name="connsiteX31" fmla="*/ 2977035 w 9144000"/>
                <a:gd name="connsiteY31" fmla="*/ 3787000 h 6083134"/>
                <a:gd name="connsiteX32" fmla="*/ 3491676 w 9144000"/>
                <a:gd name="connsiteY32" fmla="*/ 4018213 h 6083134"/>
                <a:gd name="connsiteX33" fmla="*/ 4104345 w 9144000"/>
                <a:gd name="connsiteY33" fmla="*/ 4230422 h 6083134"/>
                <a:gd name="connsiteX34" fmla="*/ 4769528 w 9144000"/>
                <a:gd name="connsiteY34" fmla="*/ 4414126 h 6083134"/>
                <a:gd name="connsiteX35" fmla="*/ 6183917 w 9144000"/>
                <a:gd name="connsiteY35" fmla="*/ 4727688 h 6083134"/>
                <a:gd name="connsiteX36" fmla="*/ 7661324 w 9144000"/>
                <a:gd name="connsiteY36" fmla="*/ 4977905 h 6083134"/>
                <a:gd name="connsiteX37" fmla="*/ 9144000 w 9144000"/>
                <a:gd name="connsiteY37" fmla="*/ 5180860 h 6083134"/>
                <a:gd name="connsiteX38" fmla="*/ 9144000 w 9144000"/>
                <a:gd name="connsiteY38" fmla="*/ 6083134 h 6083134"/>
                <a:gd name="connsiteX39" fmla="*/ 4375201 w 9144000"/>
                <a:gd name="connsiteY39" fmla="*/ 6083134 h 6083134"/>
                <a:gd name="connsiteX40" fmla="*/ 3764751 w 9144000"/>
                <a:gd name="connsiteY40" fmla="*/ 5874251 h 6083134"/>
                <a:gd name="connsiteX41" fmla="*/ 3001541 w 9144000"/>
                <a:gd name="connsiteY41" fmla="*/ 5582860 h 6083134"/>
                <a:gd name="connsiteX42" fmla="*/ 2252335 w 9144000"/>
                <a:gd name="connsiteY42" fmla="*/ 5234456 h 6083134"/>
                <a:gd name="connsiteX43" fmla="*/ 1524135 w 9144000"/>
                <a:gd name="connsiteY43" fmla="*/ 4797369 h 6083134"/>
                <a:gd name="connsiteX44" fmla="*/ 1181040 w 9144000"/>
                <a:gd name="connsiteY44" fmla="*/ 4521814 h 6083134"/>
                <a:gd name="connsiteX45" fmla="*/ 879957 w 9144000"/>
                <a:gd name="connsiteY45" fmla="*/ 4186080 h 6083134"/>
                <a:gd name="connsiteX46" fmla="*/ 673400 w 9144000"/>
                <a:gd name="connsiteY46" fmla="*/ 3774331 h 6083134"/>
                <a:gd name="connsiteX47" fmla="*/ 641892 w 9144000"/>
                <a:gd name="connsiteY47" fmla="*/ 3315072 h 6083134"/>
                <a:gd name="connsiteX48" fmla="*/ 645393 w 9144000"/>
                <a:gd name="connsiteY48" fmla="*/ 3286567 h 6083134"/>
                <a:gd name="connsiteX49" fmla="*/ 648456 w 9144000"/>
                <a:gd name="connsiteY49" fmla="*/ 3269938 h 6083134"/>
                <a:gd name="connsiteX50" fmla="*/ 652395 w 9144000"/>
                <a:gd name="connsiteY50" fmla="*/ 3254894 h 6083134"/>
                <a:gd name="connsiteX51" fmla="*/ 655458 w 9144000"/>
                <a:gd name="connsiteY51" fmla="*/ 3246579 h 6083134"/>
                <a:gd name="connsiteX52" fmla="*/ 655896 w 9144000"/>
                <a:gd name="connsiteY52" fmla="*/ 3238265 h 6083134"/>
                <a:gd name="connsiteX53" fmla="*/ 655896 w 9144000"/>
                <a:gd name="connsiteY53" fmla="*/ 3235890 h 6083134"/>
                <a:gd name="connsiteX54" fmla="*/ 658959 w 9144000"/>
                <a:gd name="connsiteY54" fmla="*/ 3230347 h 6083134"/>
                <a:gd name="connsiteX55" fmla="*/ 666398 w 9144000"/>
                <a:gd name="connsiteY55" fmla="*/ 3207384 h 6083134"/>
                <a:gd name="connsiteX56" fmla="*/ 694406 w 9144000"/>
                <a:gd name="connsiteY56" fmla="*/ 3115533 h 6083134"/>
                <a:gd name="connsiteX57" fmla="*/ 778429 w 9144000"/>
                <a:gd name="connsiteY57" fmla="*/ 2925494 h 6083134"/>
                <a:gd name="connsiteX58" fmla="*/ 1062007 w 9144000"/>
                <a:gd name="connsiteY58" fmla="*/ 2548585 h 6083134"/>
                <a:gd name="connsiteX59" fmla="*/ 1506630 w 9144000"/>
                <a:gd name="connsiteY59" fmla="*/ 2222354 h 6083134"/>
                <a:gd name="connsiteX60" fmla="*/ 2031774 w 9144000"/>
                <a:gd name="connsiteY60" fmla="*/ 2016479 h 6083134"/>
                <a:gd name="connsiteX61" fmla="*/ 2532412 w 9144000"/>
                <a:gd name="connsiteY61" fmla="*/ 1905623 h 6083134"/>
                <a:gd name="connsiteX62" fmla="*/ 2984036 w 9144000"/>
                <a:gd name="connsiteY62" fmla="*/ 1851779 h 6083134"/>
                <a:gd name="connsiteX63" fmla="*/ 3386647 w 9144000"/>
                <a:gd name="connsiteY63" fmla="*/ 1816939 h 6083134"/>
                <a:gd name="connsiteX64" fmla="*/ 3726241 w 9144000"/>
                <a:gd name="connsiteY64" fmla="*/ 1782099 h 6083134"/>
                <a:gd name="connsiteX65" fmla="*/ 3967807 w 9144000"/>
                <a:gd name="connsiteY65" fmla="*/ 1740924 h 6083134"/>
                <a:gd name="connsiteX66" fmla="*/ 4030824 w 9144000"/>
                <a:gd name="connsiteY66" fmla="*/ 1725087 h 6083134"/>
                <a:gd name="connsiteX67" fmla="*/ 4072836 w 9144000"/>
                <a:gd name="connsiteY67" fmla="*/ 1709251 h 6083134"/>
                <a:gd name="connsiteX68" fmla="*/ 4111347 w 9144000"/>
                <a:gd name="connsiteY68" fmla="*/ 1680745 h 6083134"/>
                <a:gd name="connsiteX69" fmla="*/ 4142855 w 9144000"/>
                <a:gd name="connsiteY69" fmla="*/ 1623734 h 6083134"/>
                <a:gd name="connsiteX70" fmla="*/ 4139354 w 9144000"/>
                <a:gd name="connsiteY70" fmla="*/ 1452700 h 6083134"/>
                <a:gd name="connsiteX71" fmla="*/ 4072836 w 9144000"/>
                <a:gd name="connsiteY71" fmla="*/ 1392521 h 6083134"/>
                <a:gd name="connsiteX72" fmla="*/ 3852275 w 9144000"/>
                <a:gd name="connsiteY72" fmla="*/ 1259494 h 6083134"/>
                <a:gd name="connsiteX73" fmla="*/ 3558194 w 9144000"/>
                <a:gd name="connsiteY73" fmla="*/ 1132802 h 6083134"/>
                <a:gd name="connsiteX74" fmla="*/ 3232605 w 9144000"/>
                <a:gd name="connsiteY74" fmla="*/ 1018779 h 6083134"/>
                <a:gd name="connsiteX75" fmla="*/ 2528911 w 9144000"/>
                <a:gd name="connsiteY75" fmla="*/ 825574 h 6083134"/>
                <a:gd name="connsiteX76" fmla="*/ 1030499 w 9144000"/>
                <a:gd name="connsiteY76" fmla="*/ 515179 h 6083134"/>
                <a:gd name="connsiteX77" fmla="*/ 0 w 9144000"/>
                <a:gd name="connsiteY77" fmla="*/ 348488 h 6083134"/>
                <a:gd name="connsiteX78" fmla="*/ 0 w 9144000"/>
                <a:gd name="connsiteY78" fmla="*/ 0 h 608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9144000" h="6083134">
                  <a:moveTo>
                    <a:pt x="0" y="0"/>
                  </a:moveTo>
                  <a:cubicBezTo>
                    <a:pt x="386744" y="30675"/>
                    <a:pt x="773389" y="66040"/>
                    <a:pt x="1160034" y="109764"/>
                  </a:cubicBezTo>
                  <a:cubicBezTo>
                    <a:pt x="1692181" y="166775"/>
                    <a:pt x="2224327" y="236456"/>
                    <a:pt x="2756474" y="328308"/>
                  </a:cubicBezTo>
                  <a:cubicBezTo>
                    <a:pt x="3022547" y="372650"/>
                    <a:pt x="3288620" y="426494"/>
                    <a:pt x="3554693" y="489840"/>
                  </a:cubicBezTo>
                  <a:cubicBezTo>
                    <a:pt x="3691231" y="521513"/>
                    <a:pt x="3824268" y="556353"/>
                    <a:pt x="3957304" y="597528"/>
                  </a:cubicBezTo>
                  <a:cubicBezTo>
                    <a:pt x="4090341" y="635536"/>
                    <a:pt x="4226878" y="679878"/>
                    <a:pt x="4359915" y="733722"/>
                  </a:cubicBezTo>
                  <a:cubicBezTo>
                    <a:pt x="4492952" y="787566"/>
                    <a:pt x="4629489" y="850912"/>
                    <a:pt x="4762526" y="933262"/>
                  </a:cubicBezTo>
                  <a:cubicBezTo>
                    <a:pt x="4825543" y="974437"/>
                    <a:pt x="4892062" y="1021947"/>
                    <a:pt x="4951578" y="1075791"/>
                  </a:cubicBezTo>
                  <a:cubicBezTo>
                    <a:pt x="5014595" y="1129635"/>
                    <a:pt x="5070611" y="1196148"/>
                    <a:pt x="5112622" y="1268996"/>
                  </a:cubicBezTo>
                  <a:cubicBezTo>
                    <a:pt x="5133628" y="1303836"/>
                    <a:pt x="5151133" y="1345011"/>
                    <a:pt x="5165137" y="1383019"/>
                  </a:cubicBezTo>
                  <a:cubicBezTo>
                    <a:pt x="5172139" y="1405190"/>
                    <a:pt x="5175640" y="1424194"/>
                    <a:pt x="5182642" y="1446365"/>
                  </a:cubicBezTo>
                  <a:lnTo>
                    <a:pt x="5182642" y="1452700"/>
                  </a:lnTo>
                  <a:lnTo>
                    <a:pt x="5185705" y="1464181"/>
                  </a:lnTo>
                  <a:lnTo>
                    <a:pt x="5189643" y="1490707"/>
                  </a:lnTo>
                  <a:cubicBezTo>
                    <a:pt x="5203647" y="1547719"/>
                    <a:pt x="5210649" y="1607897"/>
                    <a:pt x="5210649" y="1671243"/>
                  </a:cubicBezTo>
                  <a:cubicBezTo>
                    <a:pt x="5210649" y="1737757"/>
                    <a:pt x="5200146" y="1807437"/>
                    <a:pt x="5179141" y="1877118"/>
                  </a:cubicBezTo>
                  <a:cubicBezTo>
                    <a:pt x="5154634" y="1949966"/>
                    <a:pt x="5119624" y="2025981"/>
                    <a:pt x="5063609" y="2095662"/>
                  </a:cubicBezTo>
                  <a:cubicBezTo>
                    <a:pt x="5011094" y="2168509"/>
                    <a:pt x="4937574" y="2235023"/>
                    <a:pt x="4860553" y="2292034"/>
                  </a:cubicBezTo>
                  <a:cubicBezTo>
                    <a:pt x="4780031" y="2349046"/>
                    <a:pt x="4696008" y="2396555"/>
                    <a:pt x="4608483" y="2437730"/>
                  </a:cubicBezTo>
                  <a:cubicBezTo>
                    <a:pt x="4524460" y="2478905"/>
                    <a:pt x="4440437" y="2510578"/>
                    <a:pt x="4356414" y="2539084"/>
                  </a:cubicBezTo>
                  <a:cubicBezTo>
                    <a:pt x="4275892" y="2567589"/>
                    <a:pt x="4195370" y="2589760"/>
                    <a:pt x="4118349" y="2611932"/>
                  </a:cubicBezTo>
                  <a:cubicBezTo>
                    <a:pt x="3967807" y="2653106"/>
                    <a:pt x="3824268" y="2684779"/>
                    <a:pt x="3687730" y="2713285"/>
                  </a:cubicBezTo>
                  <a:cubicBezTo>
                    <a:pt x="3554693" y="2741791"/>
                    <a:pt x="3428659" y="2767129"/>
                    <a:pt x="3313127" y="2795635"/>
                  </a:cubicBezTo>
                  <a:cubicBezTo>
                    <a:pt x="3194094" y="2820973"/>
                    <a:pt x="3089065" y="2849479"/>
                    <a:pt x="2994539" y="2877985"/>
                  </a:cubicBezTo>
                  <a:cubicBezTo>
                    <a:pt x="2900013" y="2906490"/>
                    <a:pt x="2819491" y="2938163"/>
                    <a:pt x="2756474" y="2969836"/>
                  </a:cubicBezTo>
                  <a:cubicBezTo>
                    <a:pt x="2693456" y="3001509"/>
                    <a:pt x="2647944" y="3030015"/>
                    <a:pt x="2619936" y="3061688"/>
                  </a:cubicBezTo>
                  <a:cubicBezTo>
                    <a:pt x="2588428" y="3090194"/>
                    <a:pt x="2574424" y="3115532"/>
                    <a:pt x="2560420" y="3147205"/>
                  </a:cubicBezTo>
                  <a:cubicBezTo>
                    <a:pt x="2546416" y="3178878"/>
                    <a:pt x="2535913" y="3216886"/>
                    <a:pt x="2528911" y="3261228"/>
                  </a:cubicBezTo>
                  <a:cubicBezTo>
                    <a:pt x="2528911" y="3283399"/>
                    <a:pt x="2525908" y="3295885"/>
                    <a:pt x="2525410" y="3330909"/>
                  </a:cubicBezTo>
                  <a:cubicBezTo>
                    <a:pt x="2524912" y="3365933"/>
                    <a:pt x="2537749" y="3435246"/>
                    <a:pt x="2563921" y="3470270"/>
                  </a:cubicBezTo>
                  <a:cubicBezTo>
                    <a:pt x="2590093" y="3505294"/>
                    <a:pt x="2605932" y="3524114"/>
                    <a:pt x="2640942" y="3558954"/>
                  </a:cubicBezTo>
                  <a:cubicBezTo>
                    <a:pt x="2710961" y="3625468"/>
                    <a:pt x="2829994" y="3707817"/>
                    <a:pt x="2977035" y="3787000"/>
                  </a:cubicBezTo>
                  <a:cubicBezTo>
                    <a:pt x="3124075" y="3866183"/>
                    <a:pt x="3302624" y="3945365"/>
                    <a:pt x="3491676" y="4018213"/>
                  </a:cubicBezTo>
                  <a:cubicBezTo>
                    <a:pt x="3684229" y="4094228"/>
                    <a:pt x="3890786" y="4163909"/>
                    <a:pt x="4104345" y="4230422"/>
                  </a:cubicBezTo>
                  <a:cubicBezTo>
                    <a:pt x="4317903" y="4293768"/>
                    <a:pt x="4541965" y="4357114"/>
                    <a:pt x="4769528" y="4414126"/>
                  </a:cubicBezTo>
                  <a:cubicBezTo>
                    <a:pt x="5224653" y="4531316"/>
                    <a:pt x="5700784" y="4635837"/>
                    <a:pt x="6183917" y="4727688"/>
                  </a:cubicBezTo>
                  <a:cubicBezTo>
                    <a:pt x="6670551" y="4819540"/>
                    <a:pt x="7164187" y="4905057"/>
                    <a:pt x="7661324" y="4977905"/>
                  </a:cubicBezTo>
                  <a:cubicBezTo>
                    <a:pt x="8150979" y="5052776"/>
                    <a:pt x="8647427" y="5121502"/>
                    <a:pt x="9144000" y="5180860"/>
                  </a:cubicBezTo>
                  <a:lnTo>
                    <a:pt x="9144000" y="6083134"/>
                  </a:lnTo>
                  <a:lnTo>
                    <a:pt x="4375201" y="6083134"/>
                  </a:lnTo>
                  <a:cubicBezTo>
                    <a:pt x="4170572" y="6017183"/>
                    <a:pt x="3967105" y="5947479"/>
                    <a:pt x="3764751" y="5874251"/>
                  </a:cubicBezTo>
                  <a:cubicBezTo>
                    <a:pt x="3509181" y="5785567"/>
                    <a:pt x="3253610" y="5687380"/>
                    <a:pt x="3001541" y="5582860"/>
                  </a:cubicBezTo>
                  <a:cubicBezTo>
                    <a:pt x="2749472" y="5475171"/>
                    <a:pt x="2500903" y="5361149"/>
                    <a:pt x="2252335" y="5234456"/>
                  </a:cubicBezTo>
                  <a:cubicBezTo>
                    <a:pt x="2003767" y="5107764"/>
                    <a:pt x="1758699" y="4965236"/>
                    <a:pt x="1524135" y="4797369"/>
                  </a:cubicBezTo>
                  <a:cubicBezTo>
                    <a:pt x="1405102" y="4715019"/>
                    <a:pt x="1289570" y="4623167"/>
                    <a:pt x="1181040" y="4521814"/>
                  </a:cubicBezTo>
                  <a:cubicBezTo>
                    <a:pt x="1072510" y="4420460"/>
                    <a:pt x="970982" y="4309605"/>
                    <a:pt x="879957" y="4186080"/>
                  </a:cubicBezTo>
                  <a:cubicBezTo>
                    <a:pt x="792433" y="4059388"/>
                    <a:pt x="718913" y="3923194"/>
                    <a:pt x="673400" y="3774331"/>
                  </a:cubicBezTo>
                  <a:cubicBezTo>
                    <a:pt x="627888" y="3625468"/>
                    <a:pt x="617385" y="3467103"/>
                    <a:pt x="641892" y="3315072"/>
                  </a:cubicBezTo>
                  <a:lnTo>
                    <a:pt x="645393" y="3286567"/>
                  </a:lnTo>
                  <a:lnTo>
                    <a:pt x="648456" y="3269938"/>
                  </a:lnTo>
                  <a:cubicBezTo>
                    <a:pt x="652395" y="3264395"/>
                    <a:pt x="652395" y="3254894"/>
                    <a:pt x="652395" y="3254894"/>
                  </a:cubicBezTo>
                  <a:lnTo>
                    <a:pt x="655458" y="3246579"/>
                  </a:lnTo>
                  <a:lnTo>
                    <a:pt x="655896" y="3238265"/>
                  </a:lnTo>
                  <a:lnTo>
                    <a:pt x="655896" y="3235890"/>
                  </a:lnTo>
                  <a:lnTo>
                    <a:pt x="658959" y="3230347"/>
                  </a:lnTo>
                  <a:lnTo>
                    <a:pt x="666398" y="3207384"/>
                  </a:lnTo>
                  <a:cubicBezTo>
                    <a:pt x="673400" y="3178878"/>
                    <a:pt x="683903" y="3147205"/>
                    <a:pt x="694406" y="3115533"/>
                  </a:cubicBezTo>
                  <a:cubicBezTo>
                    <a:pt x="718913" y="3052186"/>
                    <a:pt x="746921" y="2988840"/>
                    <a:pt x="778429" y="2925494"/>
                  </a:cubicBezTo>
                  <a:cubicBezTo>
                    <a:pt x="844948" y="2798802"/>
                    <a:pt x="939474" y="2668943"/>
                    <a:pt x="1062007" y="2548585"/>
                  </a:cubicBezTo>
                  <a:cubicBezTo>
                    <a:pt x="1184541" y="2425061"/>
                    <a:pt x="1338583" y="2314205"/>
                    <a:pt x="1506630" y="2222354"/>
                  </a:cubicBezTo>
                  <a:cubicBezTo>
                    <a:pt x="1678177" y="2133669"/>
                    <a:pt x="1856726" y="2067156"/>
                    <a:pt x="2031774" y="2016479"/>
                  </a:cubicBezTo>
                  <a:cubicBezTo>
                    <a:pt x="2203322" y="1965802"/>
                    <a:pt x="2371368" y="1930962"/>
                    <a:pt x="2532412" y="1905623"/>
                  </a:cubicBezTo>
                  <a:cubicBezTo>
                    <a:pt x="2689956" y="1880285"/>
                    <a:pt x="2840497" y="1864449"/>
                    <a:pt x="2984036" y="1851779"/>
                  </a:cubicBezTo>
                  <a:cubicBezTo>
                    <a:pt x="3127576" y="1835943"/>
                    <a:pt x="3260612" y="1826441"/>
                    <a:pt x="3386647" y="1816939"/>
                  </a:cubicBezTo>
                  <a:cubicBezTo>
                    <a:pt x="3512682" y="1804270"/>
                    <a:pt x="3628214" y="1794768"/>
                    <a:pt x="3726241" y="1782099"/>
                  </a:cubicBezTo>
                  <a:cubicBezTo>
                    <a:pt x="3827769" y="1769430"/>
                    <a:pt x="3911792" y="1756760"/>
                    <a:pt x="3967807" y="1740924"/>
                  </a:cubicBezTo>
                  <a:cubicBezTo>
                    <a:pt x="3995815" y="1734589"/>
                    <a:pt x="4016821" y="1728255"/>
                    <a:pt x="4030824" y="1725087"/>
                  </a:cubicBezTo>
                  <a:cubicBezTo>
                    <a:pt x="4048329" y="1718753"/>
                    <a:pt x="4058832" y="1715586"/>
                    <a:pt x="4072836" y="1709251"/>
                  </a:cubicBezTo>
                  <a:cubicBezTo>
                    <a:pt x="4083339" y="1702916"/>
                    <a:pt x="4097343" y="1696582"/>
                    <a:pt x="4111347" y="1680745"/>
                  </a:cubicBezTo>
                  <a:cubicBezTo>
                    <a:pt x="4121849" y="1668076"/>
                    <a:pt x="4132352" y="1645905"/>
                    <a:pt x="4142855" y="1623734"/>
                  </a:cubicBezTo>
                  <a:cubicBezTo>
                    <a:pt x="4168478" y="1576202"/>
                    <a:pt x="4173884" y="1508380"/>
                    <a:pt x="4139354" y="1452700"/>
                  </a:cubicBezTo>
                  <a:cubicBezTo>
                    <a:pt x="4125350" y="1436863"/>
                    <a:pt x="4100844" y="1414692"/>
                    <a:pt x="4072836" y="1392521"/>
                  </a:cubicBezTo>
                  <a:cubicBezTo>
                    <a:pt x="4016821" y="1348179"/>
                    <a:pt x="3939799" y="1300669"/>
                    <a:pt x="3852275" y="1259494"/>
                  </a:cubicBezTo>
                  <a:cubicBezTo>
                    <a:pt x="3761250" y="1215152"/>
                    <a:pt x="3663223" y="1173977"/>
                    <a:pt x="3558194" y="1132802"/>
                  </a:cubicBezTo>
                  <a:cubicBezTo>
                    <a:pt x="3456666" y="1091627"/>
                    <a:pt x="3344636" y="1056787"/>
                    <a:pt x="3232605" y="1018779"/>
                  </a:cubicBezTo>
                  <a:cubicBezTo>
                    <a:pt x="3008543" y="949099"/>
                    <a:pt x="2770478" y="885753"/>
                    <a:pt x="2528911" y="825574"/>
                  </a:cubicBezTo>
                  <a:cubicBezTo>
                    <a:pt x="2042277" y="705217"/>
                    <a:pt x="1538138" y="607030"/>
                    <a:pt x="1030499" y="515179"/>
                  </a:cubicBezTo>
                  <a:cubicBezTo>
                    <a:pt x="689847" y="455667"/>
                    <a:pt x="346041" y="400434"/>
                    <a:pt x="0" y="34848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8100">
              <a:solidFill>
                <a:schemeClr val="tx1">
                  <a:lumMod val="85000"/>
                  <a:lumOff val="1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1" y="796010"/>
              <a:ext cx="9143999" cy="6061990"/>
            </a:xfrm>
            <a:custGeom>
              <a:avLst/>
              <a:gdLst>
                <a:gd name="connsiteX0" fmla="*/ 0 w 9143999"/>
                <a:gd name="connsiteY0" fmla="*/ 0 h 6061990"/>
                <a:gd name="connsiteX1" fmla="*/ 1153197 w 9143999"/>
                <a:gd name="connsiteY1" fmla="*/ 113919 h 6061990"/>
                <a:gd name="connsiteX2" fmla="*/ 2742675 w 9143999"/>
                <a:gd name="connsiteY2" fmla="*/ 338773 h 6061990"/>
                <a:gd name="connsiteX3" fmla="*/ 3537414 w 9143999"/>
                <a:gd name="connsiteY3" fmla="*/ 500288 h 6061990"/>
                <a:gd name="connsiteX4" fmla="*/ 3933033 w 9143999"/>
                <a:gd name="connsiteY4" fmla="*/ 607965 h 6061990"/>
                <a:gd name="connsiteX5" fmla="*/ 4328653 w 9143999"/>
                <a:gd name="connsiteY5" fmla="*/ 747311 h 6061990"/>
                <a:gd name="connsiteX6" fmla="*/ 4717270 w 9143999"/>
                <a:gd name="connsiteY6" fmla="*/ 940496 h 6061990"/>
                <a:gd name="connsiteX7" fmla="*/ 4902826 w 9143999"/>
                <a:gd name="connsiteY7" fmla="*/ 1079842 h 6061990"/>
                <a:gd name="connsiteX8" fmla="*/ 5053371 w 9143999"/>
                <a:gd name="connsiteY8" fmla="*/ 1260359 h 6061990"/>
                <a:gd name="connsiteX9" fmla="*/ 5102386 w 9143999"/>
                <a:gd name="connsiteY9" fmla="*/ 1371203 h 6061990"/>
                <a:gd name="connsiteX10" fmla="*/ 5116390 w 9143999"/>
                <a:gd name="connsiteY10" fmla="*/ 1428208 h 6061990"/>
                <a:gd name="connsiteX11" fmla="*/ 5116390 w 9143999"/>
                <a:gd name="connsiteY11" fmla="*/ 1434542 h 6061990"/>
                <a:gd name="connsiteX12" fmla="*/ 5119454 w 9143999"/>
                <a:gd name="connsiteY12" fmla="*/ 1440084 h 6061990"/>
                <a:gd name="connsiteX13" fmla="*/ 5119891 w 9143999"/>
                <a:gd name="connsiteY13" fmla="*/ 1446418 h 6061990"/>
                <a:gd name="connsiteX14" fmla="*/ 5126893 w 9143999"/>
                <a:gd name="connsiteY14" fmla="*/ 1472546 h 6061990"/>
                <a:gd name="connsiteX15" fmla="*/ 5144398 w 9143999"/>
                <a:gd name="connsiteY15" fmla="*/ 1646729 h 6061990"/>
                <a:gd name="connsiteX16" fmla="*/ 5112889 w 9143999"/>
                <a:gd name="connsiteY16" fmla="*/ 1843081 h 6061990"/>
                <a:gd name="connsiteX17" fmla="*/ 5000855 w 9143999"/>
                <a:gd name="connsiteY17" fmla="*/ 2048933 h 6061990"/>
                <a:gd name="connsiteX18" fmla="*/ 4808297 w 9143999"/>
                <a:gd name="connsiteY18" fmla="*/ 2235784 h 6061990"/>
                <a:gd name="connsiteX19" fmla="*/ 4570225 w 9143999"/>
                <a:gd name="connsiteY19" fmla="*/ 2371963 h 6061990"/>
                <a:gd name="connsiteX20" fmla="*/ 4325152 w 9143999"/>
                <a:gd name="connsiteY20" fmla="*/ 2470139 h 6061990"/>
                <a:gd name="connsiteX21" fmla="*/ 4094082 w 9143999"/>
                <a:gd name="connsiteY21" fmla="*/ 2536645 h 6061990"/>
                <a:gd name="connsiteX22" fmla="*/ 3670454 w 9143999"/>
                <a:gd name="connsiteY22" fmla="*/ 2634821 h 6061990"/>
                <a:gd name="connsiteX23" fmla="*/ 3292341 w 9143999"/>
                <a:gd name="connsiteY23" fmla="*/ 2713995 h 6061990"/>
                <a:gd name="connsiteX24" fmla="*/ 2966743 w 9143999"/>
                <a:gd name="connsiteY24" fmla="*/ 2796336 h 6061990"/>
                <a:gd name="connsiteX25" fmla="*/ 2711166 w 9143999"/>
                <a:gd name="connsiteY25" fmla="*/ 2888178 h 6061990"/>
                <a:gd name="connsiteX26" fmla="*/ 2550117 w 9143999"/>
                <a:gd name="connsiteY26" fmla="*/ 2986354 h 6061990"/>
                <a:gd name="connsiteX27" fmla="*/ 2466092 w 9143999"/>
                <a:gd name="connsiteY27" fmla="*/ 3087697 h 6061990"/>
                <a:gd name="connsiteX28" fmla="*/ 2420578 w 9143999"/>
                <a:gd name="connsiteY28" fmla="*/ 3217543 h 6061990"/>
                <a:gd name="connsiteX29" fmla="*/ 2410075 w 9143999"/>
                <a:gd name="connsiteY29" fmla="*/ 3296717 h 6061990"/>
                <a:gd name="connsiteX30" fmla="*/ 2406574 w 9143999"/>
                <a:gd name="connsiteY30" fmla="*/ 3341054 h 6061990"/>
                <a:gd name="connsiteX31" fmla="*/ 2406574 w 9143999"/>
                <a:gd name="connsiteY31" fmla="*/ 3349367 h 6061990"/>
                <a:gd name="connsiteX32" fmla="*/ 2407012 w 9143999"/>
                <a:gd name="connsiteY32" fmla="*/ 3355701 h 6061990"/>
                <a:gd name="connsiteX33" fmla="*/ 2407011 w 9143999"/>
                <a:gd name="connsiteY33" fmla="*/ 3362035 h 6061990"/>
                <a:gd name="connsiteX34" fmla="*/ 2406574 w 9143999"/>
                <a:gd name="connsiteY34" fmla="*/ 3366390 h 6061990"/>
                <a:gd name="connsiteX35" fmla="*/ 2410075 w 9143999"/>
                <a:gd name="connsiteY35" fmla="*/ 3371932 h 6061990"/>
                <a:gd name="connsiteX36" fmla="*/ 2445086 w 9143999"/>
                <a:gd name="connsiteY36" fmla="*/ 3470900 h 6061990"/>
                <a:gd name="connsiteX37" fmla="*/ 2529111 w 9143999"/>
                <a:gd name="connsiteY37" fmla="*/ 3575409 h 6061990"/>
                <a:gd name="connsiteX38" fmla="*/ 2886218 w 9143999"/>
                <a:gd name="connsiteY38" fmla="*/ 3828766 h 6061990"/>
                <a:gd name="connsiteX39" fmla="*/ 3414877 w 9143999"/>
                <a:gd name="connsiteY39" fmla="*/ 4075790 h 6061990"/>
                <a:gd name="connsiteX40" fmla="*/ 4034564 w 9143999"/>
                <a:gd name="connsiteY40" fmla="*/ 4294310 h 6061990"/>
                <a:gd name="connsiteX41" fmla="*/ 4706767 w 9143999"/>
                <a:gd name="connsiteY41" fmla="*/ 4487495 h 6061990"/>
                <a:gd name="connsiteX42" fmla="*/ 6128195 w 9143999"/>
                <a:gd name="connsiteY42" fmla="*/ 4810525 h 6061990"/>
                <a:gd name="connsiteX43" fmla="*/ 7609141 w 9143999"/>
                <a:gd name="connsiteY43" fmla="*/ 5070216 h 6061990"/>
                <a:gd name="connsiteX44" fmla="*/ 9118095 w 9143999"/>
                <a:gd name="connsiteY44" fmla="*/ 5285570 h 6061990"/>
                <a:gd name="connsiteX45" fmla="*/ 9143999 w 9143999"/>
                <a:gd name="connsiteY45" fmla="*/ 5288702 h 6061990"/>
                <a:gd name="connsiteX46" fmla="*/ 9143999 w 9143999"/>
                <a:gd name="connsiteY46" fmla="*/ 6061990 h 6061990"/>
                <a:gd name="connsiteX47" fmla="*/ 4752032 w 9143999"/>
                <a:gd name="connsiteY47" fmla="*/ 6061990 h 6061990"/>
                <a:gd name="connsiteX48" fmla="*/ 3828002 w 9143999"/>
                <a:gd name="connsiteY48" fmla="*/ 5760614 h 6061990"/>
                <a:gd name="connsiteX49" fmla="*/ 3071774 w 9143999"/>
                <a:gd name="connsiteY49" fmla="*/ 5475587 h 6061990"/>
                <a:gd name="connsiteX50" fmla="*/ 2329551 w 9143999"/>
                <a:gd name="connsiteY50" fmla="*/ 5136722 h 6061990"/>
                <a:gd name="connsiteX51" fmla="*/ 1615336 w 9143999"/>
                <a:gd name="connsiteY51" fmla="*/ 4712349 h 6061990"/>
                <a:gd name="connsiteX52" fmla="*/ 1282736 w 9143999"/>
                <a:gd name="connsiteY52" fmla="*/ 4446324 h 6061990"/>
                <a:gd name="connsiteX53" fmla="*/ 992148 w 9143999"/>
                <a:gd name="connsiteY53" fmla="*/ 4123294 h 6061990"/>
                <a:gd name="connsiteX54" fmla="*/ 792588 w 9143999"/>
                <a:gd name="connsiteY54" fmla="*/ 3733758 h 6061990"/>
                <a:gd name="connsiteX55" fmla="*/ 761078 w 9143999"/>
                <a:gd name="connsiteY55" fmla="*/ 3296717 h 6061990"/>
                <a:gd name="connsiteX56" fmla="*/ 764579 w 9143999"/>
                <a:gd name="connsiteY56" fmla="*/ 3271381 h 6061990"/>
                <a:gd name="connsiteX57" fmla="*/ 767643 w 9143999"/>
                <a:gd name="connsiteY57" fmla="*/ 3257526 h 6061990"/>
                <a:gd name="connsiteX58" fmla="*/ 771582 w 9143999"/>
                <a:gd name="connsiteY58" fmla="*/ 3242878 h 6061990"/>
                <a:gd name="connsiteX59" fmla="*/ 774645 w 9143999"/>
                <a:gd name="connsiteY59" fmla="*/ 3234565 h 6061990"/>
                <a:gd name="connsiteX60" fmla="*/ 775083 w 9143999"/>
                <a:gd name="connsiteY60" fmla="*/ 3226251 h 6061990"/>
                <a:gd name="connsiteX61" fmla="*/ 775083 w 9143999"/>
                <a:gd name="connsiteY61" fmla="*/ 3223876 h 6061990"/>
                <a:gd name="connsiteX62" fmla="*/ 778146 w 9143999"/>
                <a:gd name="connsiteY62" fmla="*/ 3218334 h 6061990"/>
                <a:gd name="connsiteX63" fmla="*/ 782085 w 9143999"/>
                <a:gd name="connsiteY63" fmla="*/ 3195374 h 6061990"/>
                <a:gd name="connsiteX64" fmla="*/ 813594 w 9143999"/>
                <a:gd name="connsiteY64" fmla="*/ 3106699 h 6061990"/>
                <a:gd name="connsiteX65" fmla="*/ 890617 w 9143999"/>
                <a:gd name="connsiteY65" fmla="*/ 2926182 h 6061990"/>
                <a:gd name="connsiteX66" fmla="*/ 1156698 w 9143999"/>
                <a:gd name="connsiteY66" fmla="*/ 2565148 h 6061990"/>
                <a:gd name="connsiteX67" fmla="*/ 1576824 w 9143999"/>
                <a:gd name="connsiteY67" fmla="*/ 2254786 h 6061990"/>
                <a:gd name="connsiteX68" fmla="*/ 2077475 w 9143999"/>
                <a:gd name="connsiteY68" fmla="*/ 2055267 h 6061990"/>
                <a:gd name="connsiteX69" fmla="*/ 2560620 w 9143999"/>
                <a:gd name="connsiteY69" fmla="*/ 1947590 h 6061990"/>
                <a:gd name="connsiteX70" fmla="*/ 3005254 w 9143999"/>
                <a:gd name="connsiteY70" fmla="*/ 1890585 h 6061990"/>
                <a:gd name="connsiteX71" fmla="*/ 3404374 w 9143999"/>
                <a:gd name="connsiteY71" fmla="*/ 1852581 h 6061990"/>
                <a:gd name="connsiteX72" fmla="*/ 3754480 w 9143999"/>
                <a:gd name="connsiteY72" fmla="*/ 1814578 h 6061990"/>
                <a:gd name="connsiteX73" fmla="*/ 4006556 w 9143999"/>
                <a:gd name="connsiteY73" fmla="*/ 1763907 h 6061990"/>
                <a:gd name="connsiteX74" fmla="*/ 4083579 w 9143999"/>
                <a:gd name="connsiteY74" fmla="*/ 1738571 h 6061990"/>
                <a:gd name="connsiteX75" fmla="*/ 4136095 w 9143999"/>
                <a:gd name="connsiteY75" fmla="*/ 1713235 h 6061990"/>
                <a:gd name="connsiteX76" fmla="*/ 4178107 w 9143999"/>
                <a:gd name="connsiteY76" fmla="*/ 1672065 h 6061990"/>
                <a:gd name="connsiteX77" fmla="*/ 4209617 w 9143999"/>
                <a:gd name="connsiteY77" fmla="*/ 1605558 h 6061990"/>
                <a:gd name="connsiteX78" fmla="*/ 4227122 w 9143999"/>
                <a:gd name="connsiteY78" fmla="*/ 1513716 h 6061990"/>
                <a:gd name="connsiteX79" fmla="*/ 4227122 w 9143999"/>
                <a:gd name="connsiteY79" fmla="*/ 1505403 h 6061990"/>
                <a:gd name="connsiteX80" fmla="*/ 4227122 w 9143999"/>
                <a:gd name="connsiteY80" fmla="*/ 1495902 h 6061990"/>
                <a:gd name="connsiteX81" fmla="*/ 4227122 w 9143999"/>
                <a:gd name="connsiteY81" fmla="*/ 1482047 h 6061990"/>
                <a:gd name="connsiteX82" fmla="*/ 4223621 w 9143999"/>
                <a:gd name="connsiteY82" fmla="*/ 1463045 h 6061990"/>
                <a:gd name="connsiteX83" fmla="*/ 4192112 w 9143999"/>
                <a:gd name="connsiteY83" fmla="*/ 1409207 h 6061990"/>
                <a:gd name="connsiteX84" fmla="*/ 4118589 w 9143999"/>
                <a:gd name="connsiteY84" fmla="*/ 1342700 h 6061990"/>
                <a:gd name="connsiteX85" fmla="*/ 3884019 w 9143999"/>
                <a:gd name="connsiteY85" fmla="*/ 1203354 h 6061990"/>
                <a:gd name="connsiteX86" fmla="*/ 3582928 w 9143999"/>
                <a:gd name="connsiteY86" fmla="*/ 1076675 h 6061990"/>
                <a:gd name="connsiteX87" fmla="*/ 3253829 w 9143999"/>
                <a:gd name="connsiteY87" fmla="*/ 965832 h 6061990"/>
                <a:gd name="connsiteX88" fmla="*/ 2543115 w 9143999"/>
                <a:gd name="connsiteY88" fmla="*/ 772647 h 6061990"/>
                <a:gd name="connsiteX89" fmla="*/ 1041163 w 9143999"/>
                <a:gd name="connsiteY89" fmla="*/ 468619 h 6061990"/>
                <a:gd name="connsiteX90" fmla="*/ 0 w 9143999"/>
                <a:gd name="connsiteY90" fmla="*/ 304674 h 6061990"/>
                <a:gd name="connsiteX91" fmla="*/ 0 w 9143999"/>
                <a:gd name="connsiteY91" fmla="*/ 0 h 6061990"/>
                <a:gd name="connsiteX0" fmla="*/ 0 w 9143999"/>
                <a:gd name="connsiteY0" fmla="*/ 0 h 6061990"/>
                <a:gd name="connsiteX1" fmla="*/ 1153197 w 9143999"/>
                <a:gd name="connsiteY1" fmla="*/ 113919 h 6061990"/>
                <a:gd name="connsiteX2" fmla="*/ 2742675 w 9143999"/>
                <a:gd name="connsiteY2" fmla="*/ 338773 h 6061990"/>
                <a:gd name="connsiteX3" fmla="*/ 3537414 w 9143999"/>
                <a:gd name="connsiteY3" fmla="*/ 500288 h 6061990"/>
                <a:gd name="connsiteX4" fmla="*/ 3933033 w 9143999"/>
                <a:gd name="connsiteY4" fmla="*/ 607965 h 6061990"/>
                <a:gd name="connsiteX5" fmla="*/ 4328653 w 9143999"/>
                <a:gd name="connsiteY5" fmla="*/ 747311 h 6061990"/>
                <a:gd name="connsiteX6" fmla="*/ 4717270 w 9143999"/>
                <a:gd name="connsiteY6" fmla="*/ 940496 h 6061990"/>
                <a:gd name="connsiteX7" fmla="*/ 4902826 w 9143999"/>
                <a:gd name="connsiteY7" fmla="*/ 1079842 h 6061990"/>
                <a:gd name="connsiteX8" fmla="*/ 5053371 w 9143999"/>
                <a:gd name="connsiteY8" fmla="*/ 1260359 h 6061990"/>
                <a:gd name="connsiteX9" fmla="*/ 5102386 w 9143999"/>
                <a:gd name="connsiteY9" fmla="*/ 1371203 h 6061990"/>
                <a:gd name="connsiteX10" fmla="*/ 5116390 w 9143999"/>
                <a:gd name="connsiteY10" fmla="*/ 1428208 h 6061990"/>
                <a:gd name="connsiteX11" fmla="*/ 5116390 w 9143999"/>
                <a:gd name="connsiteY11" fmla="*/ 1434542 h 6061990"/>
                <a:gd name="connsiteX12" fmla="*/ 5119454 w 9143999"/>
                <a:gd name="connsiteY12" fmla="*/ 1440084 h 6061990"/>
                <a:gd name="connsiteX13" fmla="*/ 5119891 w 9143999"/>
                <a:gd name="connsiteY13" fmla="*/ 1446418 h 6061990"/>
                <a:gd name="connsiteX14" fmla="*/ 5126893 w 9143999"/>
                <a:gd name="connsiteY14" fmla="*/ 1472546 h 6061990"/>
                <a:gd name="connsiteX15" fmla="*/ 5144398 w 9143999"/>
                <a:gd name="connsiteY15" fmla="*/ 1646729 h 6061990"/>
                <a:gd name="connsiteX16" fmla="*/ 5112889 w 9143999"/>
                <a:gd name="connsiteY16" fmla="*/ 1843081 h 6061990"/>
                <a:gd name="connsiteX17" fmla="*/ 5000855 w 9143999"/>
                <a:gd name="connsiteY17" fmla="*/ 2048933 h 6061990"/>
                <a:gd name="connsiteX18" fmla="*/ 4808297 w 9143999"/>
                <a:gd name="connsiteY18" fmla="*/ 2235784 h 6061990"/>
                <a:gd name="connsiteX19" fmla="*/ 4570225 w 9143999"/>
                <a:gd name="connsiteY19" fmla="*/ 2371963 h 6061990"/>
                <a:gd name="connsiteX20" fmla="*/ 4325152 w 9143999"/>
                <a:gd name="connsiteY20" fmla="*/ 2470139 h 6061990"/>
                <a:gd name="connsiteX21" fmla="*/ 4094082 w 9143999"/>
                <a:gd name="connsiteY21" fmla="*/ 2536645 h 6061990"/>
                <a:gd name="connsiteX22" fmla="*/ 3670454 w 9143999"/>
                <a:gd name="connsiteY22" fmla="*/ 2634821 h 6061990"/>
                <a:gd name="connsiteX23" fmla="*/ 3292341 w 9143999"/>
                <a:gd name="connsiteY23" fmla="*/ 2713995 h 6061990"/>
                <a:gd name="connsiteX24" fmla="*/ 2966743 w 9143999"/>
                <a:gd name="connsiteY24" fmla="*/ 2796336 h 6061990"/>
                <a:gd name="connsiteX25" fmla="*/ 2711166 w 9143999"/>
                <a:gd name="connsiteY25" fmla="*/ 2888178 h 6061990"/>
                <a:gd name="connsiteX26" fmla="*/ 2550117 w 9143999"/>
                <a:gd name="connsiteY26" fmla="*/ 2986354 h 6061990"/>
                <a:gd name="connsiteX27" fmla="*/ 2466092 w 9143999"/>
                <a:gd name="connsiteY27" fmla="*/ 3087697 h 6061990"/>
                <a:gd name="connsiteX28" fmla="*/ 2420578 w 9143999"/>
                <a:gd name="connsiteY28" fmla="*/ 3217543 h 6061990"/>
                <a:gd name="connsiteX29" fmla="*/ 2410075 w 9143999"/>
                <a:gd name="connsiteY29" fmla="*/ 3296717 h 6061990"/>
                <a:gd name="connsiteX30" fmla="*/ 2406574 w 9143999"/>
                <a:gd name="connsiteY30" fmla="*/ 3341054 h 6061990"/>
                <a:gd name="connsiteX31" fmla="*/ 2406574 w 9143999"/>
                <a:gd name="connsiteY31" fmla="*/ 3349367 h 6061990"/>
                <a:gd name="connsiteX32" fmla="*/ 2407012 w 9143999"/>
                <a:gd name="connsiteY32" fmla="*/ 3355701 h 6061990"/>
                <a:gd name="connsiteX33" fmla="*/ 2406574 w 9143999"/>
                <a:gd name="connsiteY33" fmla="*/ 3366390 h 6061990"/>
                <a:gd name="connsiteX34" fmla="*/ 2410075 w 9143999"/>
                <a:gd name="connsiteY34" fmla="*/ 3371932 h 6061990"/>
                <a:gd name="connsiteX35" fmla="*/ 2445086 w 9143999"/>
                <a:gd name="connsiteY35" fmla="*/ 3470900 h 6061990"/>
                <a:gd name="connsiteX36" fmla="*/ 2529111 w 9143999"/>
                <a:gd name="connsiteY36" fmla="*/ 3575409 h 6061990"/>
                <a:gd name="connsiteX37" fmla="*/ 2886218 w 9143999"/>
                <a:gd name="connsiteY37" fmla="*/ 3828766 h 6061990"/>
                <a:gd name="connsiteX38" fmla="*/ 3414877 w 9143999"/>
                <a:gd name="connsiteY38" fmla="*/ 4075790 h 6061990"/>
                <a:gd name="connsiteX39" fmla="*/ 4034564 w 9143999"/>
                <a:gd name="connsiteY39" fmla="*/ 4294310 h 6061990"/>
                <a:gd name="connsiteX40" fmla="*/ 4706767 w 9143999"/>
                <a:gd name="connsiteY40" fmla="*/ 4487495 h 6061990"/>
                <a:gd name="connsiteX41" fmla="*/ 6128195 w 9143999"/>
                <a:gd name="connsiteY41" fmla="*/ 4810525 h 6061990"/>
                <a:gd name="connsiteX42" fmla="*/ 7609141 w 9143999"/>
                <a:gd name="connsiteY42" fmla="*/ 5070216 h 6061990"/>
                <a:gd name="connsiteX43" fmla="*/ 9118095 w 9143999"/>
                <a:gd name="connsiteY43" fmla="*/ 5285570 h 6061990"/>
                <a:gd name="connsiteX44" fmla="*/ 9143999 w 9143999"/>
                <a:gd name="connsiteY44" fmla="*/ 5288702 h 6061990"/>
                <a:gd name="connsiteX45" fmla="*/ 9143999 w 9143999"/>
                <a:gd name="connsiteY45" fmla="*/ 6061990 h 6061990"/>
                <a:gd name="connsiteX46" fmla="*/ 4752032 w 9143999"/>
                <a:gd name="connsiteY46" fmla="*/ 6061990 h 6061990"/>
                <a:gd name="connsiteX47" fmla="*/ 3828002 w 9143999"/>
                <a:gd name="connsiteY47" fmla="*/ 5760614 h 6061990"/>
                <a:gd name="connsiteX48" fmla="*/ 3071774 w 9143999"/>
                <a:gd name="connsiteY48" fmla="*/ 5475587 h 6061990"/>
                <a:gd name="connsiteX49" fmla="*/ 2329551 w 9143999"/>
                <a:gd name="connsiteY49" fmla="*/ 5136722 h 6061990"/>
                <a:gd name="connsiteX50" fmla="*/ 1615336 w 9143999"/>
                <a:gd name="connsiteY50" fmla="*/ 4712349 h 6061990"/>
                <a:gd name="connsiteX51" fmla="*/ 1282736 w 9143999"/>
                <a:gd name="connsiteY51" fmla="*/ 4446324 h 6061990"/>
                <a:gd name="connsiteX52" fmla="*/ 992148 w 9143999"/>
                <a:gd name="connsiteY52" fmla="*/ 4123294 h 6061990"/>
                <a:gd name="connsiteX53" fmla="*/ 792588 w 9143999"/>
                <a:gd name="connsiteY53" fmla="*/ 3733758 h 6061990"/>
                <a:gd name="connsiteX54" fmla="*/ 761078 w 9143999"/>
                <a:gd name="connsiteY54" fmla="*/ 3296717 h 6061990"/>
                <a:gd name="connsiteX55" fmla="*/ 764579 w 9143999"/>
                <a:gd name="connsiteY55" fmla="*/ 3271381 h 6061990"/>
                <a:gd name="connsiteX56" fmla="*/ 767643 w 9143999"/>
                <a:gd name="connsiteY56" fmla="*/ 3257526 h 6061990"/>
                <a:gd name="connsiteX57" fmla="*/ 771582 w 9143999"/>
                <a:gd name="connsiteY57" fmla="*/ 3242878 h 6061990"/>
                <a:gd name="connsiteX58" fmla="*/ 774645 w 9143999"/>
                <a:gd name="connsiteY58" fmla="*/ 3234565 h 6061990"/>
                <a:gd name="connsiteX59" fmla="*/ 775083 w 9143999"/>
                <a:gd name="connsiteY59" fmla="*/ 3226251 h 6061990"/>
                <a:gd name="connsiteX60" fmla="*/ 775083 w 9143999"/>
                <a:gd name="connsiteY60" fmla="*/ 3223876 h 6061990"/>
                <a:gd name="connsiteX61" fmla="*/ 778146 w 9143999"/>
                <a:gd name="connsiteY61" fmla="*/ 3218334 h 6061990"/>
                <a:gd name="connsiteX62" fmla="*/ 782085 w 9143999"/>
                <a:gd name="connsiteY62" fmla="*/ 3195374 h 6061990"/>
                <a:gd name="connsiteX63" fmla="*/ 813594 w 9143999"/>
                <a:gd name="connsiteY63" fmla="*/ 3106699 h 6061990"/>
                <a:gd name="connsiteX64" fmla="*/ 890617 w 9143999"/>
                <a:gd name="connsiteY64" fmla="*/ 2926182 h 6061990"/>
                <a:gd name="connsiteX65" fmla="*/ 1156698 w 9143999"/>
                <a:gd name="connsiteY65" fmla="*/ 2565148 h 6061990"/>
                <a:gd name="connsiteX66" fmla="*/ 1576824 w 9143999"/>
                <a:gd name="connsiteY66" fmla="*/ 2254786 h 6061990"/>
                <a:gd name="connsiteX67" fmla="*/ 2077475 w 9143999"/>
                <a:gd name="connsiteY67" fmla="*/ 2055267 h 6061990"/>
                <a:gd name="connsiteX68" fmla="*/ 2560620 w 9143999"/>
                <a:gd name="connsiteY68" fmla="*/ 1947590 h 6061990"/>
                <a:gd name="connsiteX69" fmla="*/ 3005254 w 9143999"/>
                <a:gd name="connsiteY69" fmla="*/ 1890585 h 6061990"/>
                <a:gd name="connsiteX70" fmla="*/ 3404374 w 9143999"/>
                <a:gd name="connsiteY70" fmla="*/ 1852581 h 6061990"/>
                <a:gd name="connsiteX71" fmla="*/ 3754480 w 9143999"/>
                <a:gd name="connsiteY71" fmla="*/ 1814578 h 6061990"/>
                <a:gd name="connsiteX72" fmla="*/ 4006556 w 9143999"/>
                <a:gd name="connsiteY72" fmla="*/ 1763907 h 6061990"/>
                <a:gd name="connsiteX73" fmla="*/ 4083579 w 9143999"/>
                <a:gd name="connsiteY73" fmla="*/ 1738571 h 6061990"/>
                <a:gd name="connsiteX74" fmla="*/ 4136095 w 9143999"/>
                <a:gd name="connsiteY74" fmla="*/ 1713235 h 6061990"/>
                <a:gd name="connsiteX75" fmla="*/ 4178107 w 9143999"/>
                <a:gd name="connsiteY75" fmla="*/ 1672065 h 6061990"/>
                <a:gd name="connsiteX76" fmla="*/ 4209617 w 9143999"/>
                <a:gd name="connsiteY76" fmla="*/ 1605558 h 6061990"/>
                <a:gd name="connsiteX77" fmla="*/ 4227122 w 9143999"/>
                <a:gd name="connsiteY77" fmla="*/ 1513716 h 6061990"/>
                <a:gd name="connsiteX78" fmla="*/ 4227122 w 9143999"/>
                <a:gd name="connsiteY78" fmla="*/ 1505403 h 6061990"/>
                <a:gd name="connsiteX79" fmla="*/ 4227122 w 9143999"/>
                <a:gd name="connsiteY79" fmla="*/ 1495902 h 6061990"/>
                <a:gd name="connsiteX80" fmla="*/ 4227122 w 9143999"/>
                <a:gd name="connsiteY80" fmla="*/ 1482047 h 6061990"/>
                <a:gd name="connsiteX81" fmla="*/ 4223621 w 9143999"/>
                <a:gd name="connsiteY81" fmla="*/ 1463045 h 6061990"/>
                <a:gd name="connsiteX82" fmla="*/ 4192112 w 9143999"/>
                <a:gd name="connsiteY82" fmla="*/ 1409207 h 6061990"/>
                <a:gd name="connsiteX83" fmla="*/ 4118589 w 9143999"/>
                <a:gd name="connsiteY83" fmla="*/ 1342700 h 6061990"/>
                <a:gd name="connsiteX84" fmla="*/ 3884019 w 9143999"/>
                <a:gd name="connsiteY84" fmla="*/ 1203354 h 6061990"/>
                <a:gd name="connsiteX85" fmla="*/ 3582928 w 9143999"/>
                <a:gd name="connsiteY85" fmla="*/ 1076675 h 6061990"/>
                <a:gd name="connsiteX86" fmla="*/ 3253829 w 9143999"/>
                <a:gd name="connsiteY86" fmla="*/ 965832 h 6061990"/>
                <a:gd name="connsiteX87" fmla="*/ 2543115 w 9143999"/>
                <a:gd name="connsiteY87" fmla="*/ 772647 h 6061990"/>
                <a:gd name="connsiteX88" fmla="*/ 1041163 w 9143999"/>
                <a:gd name="connsiteY88" fmla="*/ 468619 h 6061990"/>
                <a:gd name="connsiteX89" fmla="*/ 0 w 9143999"/>
                <a:gd name="connsiteY89" fmla="*/ 304674 h 6061990"/>
                <a:gd name="connsiteX90" fmla="*/ 0 w 9143999"/>
                <a:gd name="connsiteY90" fmla="*/ 0 h 6061990"/>
                <a:gd name="connsiteX0" fmla="*/ 0 w 9143999"/>
                <a:gd name="connsiteY0" fmla="*/ 0 h 6061990"/>
                <a:gd name="connsiteX1" fmla="*/ 1153197 w 9143999"/>
                <a:gd name="connsiteY1" fmla="*/ 113919 h 6061990"/>
                <a:gd name="connsiteX2" fmla="*/ 2742675 w 9143999"/>
                <a:gd name="connsiteY2" fmla="*/ 338773 h 6061990"/>
                <a:gd name="connsiteX3" fmla="*/ 3537414 w 9143999"/>
                <a:gd name="connsiteY3" fmla="*/ 500288 h 6061990"/>
                <a:gd name="connsiteX4" fmla="*/ 3933033 w 9143999"/>
                <a:gd name="connsiteY4" fmla="*/ 607965 h 6061990"/>
                <a:gd name="connsiteX5" fmla="*/ 4328653 w 9143999"/>
                <a:gd name="connsiteY5" fmla="*/ 747311 h 6061990"/>
                <a:gd name="connsiteX6" fmla="*/ 4717270 w 9143999"/>
                <a:gd name="connsiteY6" fmla="*/ 940496 h 6061990"/>
                <a:gd name="connsiteX7" fmla="*/ 4902826 w 9143999"/>
                <a:gd name="connsiteY7" fmla="*/ 1079842 h 6061990"/>
                <a:gd name="connsiteX8" fmla="*/ 5053371 w 9143999"/>
                <a:gd name="connsiteY8" fmla="*/ 1260359 h 6061990"/>
                <a:gd name="connsiteX9" fmla="*/ 5102386 w 9143999"/>
                <a:gd name="connsiteY9" fmla="*/ 1371203 h 6061990"/>
                <a:gd name="connsiteX10" fmla="*/ 5116390 w 9143999"/>
                <a:gd name="connsiteY10" fmla="*/ 1428208 h 6061990"/>
                <a:gd name="connsiteX11" fmla="*/ 5116390 w 9143999"/>
                <a:gd name="connsiteY11" fmla="*/ 1434542 h 6061990"/>
                <a:gd name="connsiteX12" fmla="*/ 5119454 w 9143999"/>
                <a:gd name="connsiteY12" fmla="*/ 1440084 h 6061990"/>
                <a:gd name="connsiteX13" fmla="*/ 5119891 w 9143999"/>
                <a:gd name="connsiteY13" fmla="*/ 1446418 h 6061990"/>
                <a:gd name="connsiteX14" fmla="*/ 5126893 w 9143999"/>
                <a:gd name="connsiteY14" fmla="*/ 1472546 h 6061990"/>
                <a:gd name="connsiteX15" fmla="*/ 5144398 w 9143999"/>
                <a:gd name="connsiteY15" fmla="*/ 1646729 h 6061990"/>
                <a:gd name="connsiteX16" fmla="*/ 5112889 w 9143999"/>
                <a:gd name="connsiteY16" fmla="*/ 1843081 h 6061990"/>
                <a:gd name="connsiteX17" fmla="*/ 5000855 w 9143999"/>
                <a:gd name="connsiteY17" fmla="*/ 2048933 h 6061990"/>
                <a:gd name="connsiteX18" fmla="*/ 4808297 w 9143999"/>
                <a:gd name="connsiteY18" fmla="*/ 2235784 h 6061990"/>
                <a:gd name="connsiteX19" fmla="*/ 4570225 w 9143999"/>
                <a:gd name="connsiteY19" fmla="*/ 2371963 h 6061990"/>
                <a:gd name="connsiteX20" fmla="*/ 4325152 w 9143999"/>
                <a:gd name="connsiteY20" fmla="*/ 2470139 h 6061990"/>
                <a:gd name="connsiteX21" fmla="*/ 4094082 w 9143999"/>
                <a:gd name="connsiteY21" fmla="*/ 2536645 h 6061990"/>
                <a:gd name="connsiteX22" fmla="*/ 3670454 w 9143999"/>
                <a:gd name="connsiteY22" fmla="*/ 2634821 h 6061990"/>
                <a:gd name="connsiteX23" fmla="*/ 3292341 w 9143999"/>
                <a:gd name="connsiteY23" fmla="*/ 2713995 h 6061990"/>
                <a:gd name="connsiteX24" fmla="*/ 2966743 w 9143999"/>
                <a:gd name="connsiteY24" fmla="*/ 2796336 h 6061990"/>
                <a:gd name="connsiteX25" fmla="*/ 2711166 w 9143999"/>
                <a:gd name="connsiteY25" fmla="*/ 2888178 h 6061990"/>
                <a:gd name="connsiteX26" fmla="*/ 2550117 w 9143999"/>
                <a:gd name="connsiteY26" fmla="*/ 2986354 h 6061990"/>
                <a:gd name="connsiteX27" fmla="*/ 2466092 w 9143999"/>
                <a:gd name="connsiteY27" fmla="*/ 3087697 h 6061990"/>
                <a:gd name="connsiteX28" fmla="*/ 2420578 w 9143999"/>
                <a:gd name="connsiteY28" fmla="*/ 3217543 h 6061990"/>
                <a:gd name="connsiteX29" fmla="*/ 2410075 w 9143999"/>
                <a:gd name="connsiteY29" fmla="*/ 3296717 h 6061990"/>
                <a:gd name="connsiteX30" fmla="*/ 2406574 w 9143999"/>
                <a:gd name="connsiteY30" fmla="*/ 3341054 h 6061990"/>
                <a:gd name="connsiteX31" fmla="*/ 2406574 w 9143999"/>
                <a:gd name="connsiteY31" fmla="*/ 3349367 h 6061990"/>
                <a:gd name="connsiteX32" fmla="*/ 2406574 w 9143999"/>
                <a:gd name="connsiteY32" fmla="*/ 3366390 h 6061990"/>
                <a:gd name="connsiteX33" fmla="*/ 2410075 w 9143999"/>
                <a:gd name="connsiteY33" fmla="*/ 3371932 h 6061990"/>
                <a:gd name="connsiteX34" fmla="*/ 2445086 w 9143999"/>
                <a:gd name="connsiteY34" fmla="*/ 3470900 h 6061990"/>
                <a:gd name="connsiteX35" fmla="*/ 2529111 w 9143999"/>
                <a:gd name="connsiteY35" fmla="*/ 3575409 h 6061990"/>
                <a:gd name="connsiteX36" fmla="*/ 2886218 w 9143999"/>
                <a:gd name="connsiteY36" fmla="*/ 3828766 h 6061990"/>
                <a:gd name="connsiteX37" fmla="*/ 3414877 w 9143999"/>
                <a:gd name="connsiteY37" fmla="*/ 4075790 h 6061990"/>
                <a:gd name="connsiteX38" fmla="*/ 4034564 w 9143999"/>
                <a:gd name="connsiteY38" fmla="*/ 4294310 h 6061990"/>
                <a:gd name="connsiteX39" fmla="*/ 4706767 w 9143999"/>
                <a:gd name="connsiteY39" fmla="*/ 4487495 h 6061990"/>
                <a:gd name="connsiteX40" fmla="*/ 6128195 w 9143999"/>
                <a:gd name="connsiteY40" fmla="*/ 4810525 h 6061990"/>
                <a:gd name="connsiteX41" fmla="*/ 7609141 w 9143999"/>
                <a:gd name="connsiteY41" fmla="*/ 5070216 h 6061990"/>
                <a:gd name="connsiteX42" fmla="*/ 9118095 w 9143999"/>
                <a:gd name="connsiteY42" fmla="*/ 5285570 h 6061990"/>
                <a:gd name="connsiteX43" fmla="*/ 9143999 w 9143999"/>
                <a:gd name="connsiteY43" fmla="*/ 5288702 h 6061990"/>
                <a:gd name="connsiteX44" fmla="*/ 9143999 w 9143999"/>
                <a:gd name="connsiteY44" fmla="*/ 6061990 h 6061990"/>
                <a:gd name="connsiteX45" fmla="*/ 4752032 w 9143999"/>
                <a:gd name="connsiteY45" fmla="*/ 6061990 h 6061990"/>
                <a:gd name="connsiteX46" fmla="*/ 3828002 w 9143999"/>
                <a:gd name="connsiteY46" fmla="*/ 5760614 h 6061990"/>
                <a:gd name="connsiteX47" fmla="*/ 3071774 w 9143999"/>
                <a:gd name="connsiteY47" fmla="*/ 5475587 h 6061990"/>
                <a:gd name="connsiteX48" fmla="*/ 2329551 w 9143999"/>
                <a:gd name="connsiteY48" fmla="*/ 5136722 h 6061990"/>
                <a:gd name="connsiteX49" fmla="*/ 1615336 w 9143999"/>
                <a:gd name="connsiteY49" fmla="*/ 4712349 h 6061990"/>
                <a:gd name="connsiteX50" fmla="*/ 1282736 w 9143999"/>
                <a:gd name="connsiteY50" fmla="*/ 4446324 h 6061990"/>
                <a:gd name="connsiteX51" fmla="*/ 992148 w 9143999"/>
                <a:gd name="connsiteY51" fmla="*/ 4123294 h 6061990"/>
                <a:gd name="connsiteX52" fmla="*/ 792588 w 9143999"/>
                <a:gd name="connsiteY52" fmla="*/ 3733758 h 6061990"/>
                <a:gd name="connsiteX53" fmla="*/ 761078 w 9143999"/>
                <a:gd name="connsiteY53" fmla="*/ 3296717 h 6061990"/>
                <a:gd name="connsiteX54" fmla="*/ 764579 w 9143999"/>
                <a:gd name="connsiteY54" fmla="*/ 3271381 h 6061990"/>
                <a:gd name="connsiteX55" fmla="*/ 767643 w 9143999"/>
                <a:gd name="connsiteY55" fmla="*/ 3257526 h 6061990"/>
                <a:gd name="connsiteX56" fmla="*/ 771582 w 9143999"/>
                <a:gd name="connsiteY56" fmla="*/ 3242878 h 6061990"/>
                <a:gd name="connsiteX57" fmla="*/ 774645 w 9143999"/>
                <a:gd name="connsiteY57" fmla="*/ 3234565 h 6061990"/>
                <a:gd name="connsiteX58" fmla="*/ 775083 w 9143999"/>
                <a:gd name="connsiteY58" fmla="*/ 3226251 h 6061990"/>
                <a:gd name="connsiteX59" fmla="*/ 775083 w 9143999"/>
                <a:gd name="connsiteY59" fmla="*/ 3223876 h 6061990"/>
                <a:gd name="connsiteX60" fmla="*/ 778146 w 9143999"/>
                <a:gd name="connsiteY60" fmla="*/ 3218334 h 6061990"/>
                <a:gd name="connsiteX61" fmla="*/ 782085 w 9143999"/>
                <a:gd name="connsiteY61" fmla="*/ 3195374 h 6061990"/>
                <a:gd name="connsiteX62" fmla="*/ 813594 w 9143999"/>
                <a:gd name="connsiteY62" fmla="*/ 3106699 h 6061990"/>
                <a:gd name="connsiteX63" fmla="*/ 890617 w 9143999"/>
                <a:gd name="connsiteY63" fmla="*/ 2926182 h 6061990"/>
                <a:gd name="connsiteX64" fmla="*/ 1156698 w 9143999"/>
                <a:gd name="connsiteY64" fmla="*/ 2565148 h 6061990"/>
                <a:gd name="connsiteX65" fmla="*/ 1576824 w 9143999"/>
                <a:gd name="connsiteY65" fmla="*/ 2254786 h 6061990"/>
                <a:gd name="connsiteX66" fmla="*/ 2077475 w 9143999"/>
                <a:gd name="connsiteY66" fmla="*/ 2055267 h 6061990"/>
                <a:gd name="connsiteX67" fmla="*/ 2560620 w 9143999"/>
                <a:gd name="connsiteY67" fmla="*/ 1947590 h 6061990"/>
                <a:gd name="connsiteX68" fmla="*/ 3005254 w 9143999"/>
                <a:gd name="connsiteY68" fmla="*/ 1890585 h 6061990"/>
                <a:gd name="connsiteX69" fmla="*/ 3404374 w 9143999"/>
                <a:gd name="connsiteY69" fmla="*/ 1852581 h 6061990"/>
                <a:gd name="connsiteX70" fmla="*/ 3754480 w 9143999"/>
                <a:gd name="connsiteY70" fmla="*/ 1814578 h 6061990"/>
                <a:gd name="connsiteX71" fmla="*/ 4006556 w 9143999"/>
                <a:gd name="connsiteY71" fmla="*/ 1763907 h 6061990"/>
                <a:gd name="connsiteX72" fmla="*/ 4083579 w 9143999"/>
                <a:gd name="connsiteY72" fmla="*/ 1738571 h 6061990"/>
                <a:gd name="connsiteX73" fmla="*/ 4136095 w 9143999"/>
                <a:gd name="connsiteY73" fmla="*/ 1713235 h 6061990"/>
                <a:gd name="connsiteX74" fmla="*/ 4178107 w 9143999"/>
                <a:gd name="connsiteY74" fmla="*/ 1672065 h 6061990"/>
                <a:gd name="connsiteX75" fmla="*/ 4209617 w 9143999"/>
                <a:gd name="connsiteY75" fmla="*/ 1605558 h 6061990"/>
                <a:gd name="connsiteX76" fmla="*/ 4227122 w 9143999"/>
                <a:gd name="connsiteY76" fmla="*/ 1513716 h 6061990"/>
                <a:gd name="connsiteX77" fmla="*/ 4227122 w 9143999"/>
                <a:gd name="connsiteY77" fmla="*/ 1505403 h 6061990"/>
                <a:gd name="connsiteX78" fmla="*/ 4227122 w 9143999"/>
                <a:gd name="connsiteY78" fmla="*/ 1495902 h 6061990"/>
                <a:gd name="connsiteX79" fmla="*/ 4227122 w 9143999"/>
                <a:gd name="connsiteY79" fmla="*/ 1482047 h 6061990"/>
                <a:gd name="connsiteX80" fmla="*/ 4223621 w 9143999"/>
                <a:gd name="connsiteY80" fmla="*/ 1463045 h 6061990"/>
                <a:gd name="connsiteX81" fmla="*/ 4192112 w 9143999"/>
                <a:gd name="connsiteY81" fmla="*/ 1409207 h 6061990"/>
                <a:gd name="connsiteX82" fmla="*/ 4118589 w 9143999"/>
                <a:gd name="connsiteY82" fmla="*/ 1342700 h 6061990"/>
                <a:gd name="connsiteX83" fmla="*/ 3884019 w 9143999"/>
                <a:gd name="connsiteY83" fmla="*/ 1203354 h 6061990"/>
                <a:gd name="connsiteX84" fmla="*/ 3582928 w 9143999"/>
                <a:gd name="connsiteY84" fmla="*/ 1076675 h 6061990"/>
                <a:gd name="connsiteX85" fmla="*/ 3253829 w 9143999"/>
                <a:gd name="connsiteY85" fmla="*/ 965832 h 6061990"/>
                <a:gd name="connsiteX86" fmla="*/ 2543115 w 9143999"/>
                <a:gd name="connsiteY86" fmla="*/ 772647 h 6061990"/>
                <a:gd name="connsiteX87" fmla="*/ 1041163 w 9143999"/>
                <a:gd name="connsiteY87" fmla="*/ 468619 h 6061990"/>
                <a:gd name="connsiteX88" fmla="*/ 0 w 9143999"/>
                <a:gd name="connsiteY88" fmla="*/ 304674 h 6061990"/>
                <a:gd name="connsiteX89" fmla="*/ 0 w 9143999"/>
                <a:gd name="connsiteY89" fmla="*/ 0 h 6061990"/>
                <a:gd name="connsiteX0" fmla="*/ 0 w 9143999"/>
                <a:gd name="connsiteY0" fmla="*/ 0 h 6061990"/>
                <a:gd name="connsiteX1" fmla="*/ 1153197 w 9143999"/>
                <a:gd name="connsiteY1" fmla="*/ 113919 h 6061990"/>
                <a:gd name="connsiteX2" fmla="*/ 2742675 w 9143999"/>
                <a:gd name="connsiteY2" fmla="*/ 338773 h 6061990"/>
                <a:gd name="connsiteX3" fmla="*/ 3537414 w 9143999"/>
                <a:gd name="connsiteY3" fmla="*/ 500288 h 6061990"/>
                <a:gd name="connsiteX4" fmla="*/ 3933033 w 9143999"/>
                <a:gd name="connsiteY4" fmla="*/ 607965 h 6061990"/>
                <a:gd name="connsiteX5" fmla="*/ 4328653 w 9143999"/>
                <a:gd name="connsiteY5" fmla="*/ 747311 h 6061990"/>
                <a:gd name="connsiteX6" fmla="*/ 4717270 w 9143999"/>
                <a:gd name="connsiteY6" fmla="*/ 940496 h 6061990"/>
                <a:gd name="connsiteX7" fmla="*/ 4902826 w 9143999"/>
                <a:gd name="connsiteY7" fmla="*/ 1079842 h 6061990"/>
                <a:gd name="connsiteX8" fmla="*/ 5053371 w 9143999"/>
                <a:gd name="connsiteY8" fmla="*/ 1260359 h 6061990"/>
                <a:gd name="connsiteX9" fmla="*/ 5102386 w 9143999"/>
                <a:gd name="connsiteY9" fmla="*/ 1371203 h 6061990"/>
                <a:gd name="connsiteX10" fmla="*/ 5116390 w 9143999"/>
                <a:gd name="connsiteY10" fmla="*/ 1428208 h 6061990"/>
                <a:gd name="connsiteX11" fmla="*/ 5116390 w 9143999"/>
                <a:gd name="connsiteY11" fmla="*/ 1434542 h 6061990"/>
                <a:gd name="connsiteX12" fmla="*/ 5119454 w 9143999"/>
                <a:gd name="connsiteY12" fmla="*/ 1440084 h 6061990"/>
                <a:gd name="connsiteX13" fmla="*/ 5119891 w 9143999"/>
                <a:gd name="connsiteY13" fmla="*/ 1446418 h 6061990"/>
                <a:gd name="connsiteX14" fmla="*/ 5126893 w 9143999"/>
                <a:gd name="connsiteY14" fmla="*/ 1472546 h 6061990"/>
                <a:gd name="connsiteX15" fmla="*/ 5144398 w 9143999"/>
                <a:gd name="connsiteY15" fmla="*/ 1646729 h 6061990"/>
                <a:gd name="connsiteX16" fmla="*/ 5112889 w 9143999"/>
                <a:gd name="connsiteY16" fmla="*/ 1843081 h 6061990"/>
                <a:gd name="connsiteX17" fmla="*/ 5000855 w 9143999"/>
                <a:gd name="connsiteY17" fmla="*/ 2048933 h 6061990"/>
                <a:gd name="connsiteX18" fmla="*/ 4808297 w 9143999"/>
                <a:gd name="connsiteY18" fmla="*/ 2235784 h 6061990"/>
                <a:gd name="connsiteX19" fmla="*/ 4570225 w 9143999"/>
                <a:gd name="connsiteY19" fmla="*/ 2371963 h 6061990"/>
                <a:gd name="connsiteX20" fmla="*/ 4325152 w 9143999"/>
                <a:gd name="connsiteY20" fmla="*/ 2470139 h 6061990"/>
                <a:gd name="connsiteX21" fmla="*/ 4094082 w 9143999"/>
                <a:gd name="connsiteY21" fmla="*/ 2536645 h 6061990"/>
                <a:gd name="connsiteX22" fmla="*/ 3670454 w 9143999"/>
                <a:gd name="connsiteY22" fmla="*/ 2634821 h 6061990"/>
                <a:gd name="connsiteX23" fmla="*/ 3292341 w 9143999"/>
                <a:gd name="connsiteY23" fmla="*/ 2713995 h 6061990"/>
                <a:gd name="connsiteX24" fmla="*/ 2966743 w 9143999"/>
                <a:gd name="connsiteY24" fmla="*/ 2796336 h 6061990"/>
                <a:gd name="connsiteX25" fmla="*/ 2711166 w 9143999"/>
                <a:gd name="connsiteY25" fmla="*/ 2888178 h 6061990"/>
                <a:gd name="connsiteX26" fmla="*/ 2550117 w 9143999"/>
                <a:gd name="connsiteY26" fmla="*/ 2986354 h 6061990"/>
                <a:gd name="connsiteX27" fmla="*/ 2466092 w 9143999"/>
                <a:gd name="connsiteY27" fmla="*/ 3087697 h 6061990"/>
                <a:gd name="connsiteX28" fmla="*/ 2420578 w 9143999"/>
                <a:gd name="connsiteY28" fmla="*/ 3217543 h 6061990"/>
                <a:gd name="connsiteX29" fmla="*/ 2410075 w 9143999"/>
                <a:gd name="connsiteY29" fmla="*/ 3296717 h 6061990"/>
                <a:gd name="connsiteX30" fmla="*/ 2406574 w 9143999"/>
                <a:gd name="connsiteY30" fmla="*/ 3341054 h 6061990"/>
                <a:gd name="connsiteX31" fmla="*/ 2406574 w 9143999"/>
                <a:gd name="connsiteY31" fmla="*/ 3366390 h 6061990"/>
                <a:gd name="connsiteX32" fmla="*/ 2410075 w 9143999"/>
                <a:gd name="connsiteY32" fmla="*/ 3371932 h 6061990"/>
                <a:gd name="connsiteX33" fmla="*/ 2445086 w 9143999"/>
                <a:gd name="connsiteY33" fmla="*/ 3470900 h 6061990"/>
                <a:gd name="connsiteX34" fmla="*/ 2529111 w 9143999"/>
                <a:gd name="connsiteY34" fmla="*/ 3575409 h 6061990"/>
                <a:gd name="connsiteX35" fmla="*/ 2886218 w 9143999"/>
                <a:gd name="connsiteY35" fmla="*/ 3828766 h 6061990"/>
                <a:gd name="connsiteX36" fmla="*/ 3414877 w 9143999"/>
                <a:gd name="connsiteY36" fmla="*/ 4075790 h 6061990"/>
                <a:gd name="connsiteX37" fmla="*/ 4034564 w 9143999"/>
                <a:gd name="connsiteY37" fmla="*/ 4294310 h 6061990"/>
                <a:gd name="connsiteX38" fmla="*/ 4706767 w 9143999"/>
                <a:gd name="connsiteY38" fmla="*/ 4487495 h 6061990"/>
                <a:gd name="connsiteX39" fmla="*/ 6128195 w 9143999"/>
                <a:gd name="connsiteY39" fmla="*/ 4810525 h 6061990"/>
                <a:gd name="connsiteX40" fmla="*/ 7609141 w 9143999"/>
                <a:gd name="connsiteY40" fmla="*/ 5070216 h 6061990"/>
                <a:gd name="connsiteX41" fmla="*/ 9118095 w 9143999"/>
                <a:gd name="connsiteY41" fmla="*/ 5285570 h 6061990"/>
                <a:gd name="connsiteX42" fmla="*/ 9143999 w 9143999"/>
                <a:gd name="connsiteY42" fmla="*/ 5288702 h 6061990"/>
                <a:gd name="connsiteX43" fmla="*/ 9143999 w 9143999"/>
                <a:gd name="connsiteY43" fmla="*/ 6061990 h 6061990"/>
                <a:gd name="connsiteX44" fmla="*/ 4752032 w 9143999"/>
                <a:gd name="connsiteY44" fmla="*/ 6061990 h 6061990"/>
                <a:gd name="connsiteX45" fmla="*/ 3828002 w 9143999"/>
                <a:gd name="connsiteY45" fmla="*/ 5760614 h 6061990"/>
                <a:gd name="connsiteX46" fmla="*/ 3071774 w 9143999"/>
                <a:gd name="connsiteY46" fmla="*/ 5475587 h 6061990"/>
                <a:gd name="connsiteX47" fmla="*/ 2329551 w 9143999"/>
                <a:gd name="connsiteY47" fmla="*/ 5136722 h 6061990"/>
                <a:gd name="connsiteX48" fmla="*/ 1615336 w 9143999"/>
                <a:gd name="connsiteY48" fmla="*/ 4712349 h 6061990"/>
                <a:gd name="connsiteX49" fmla="*/ 1282736 w 9143999"/>
                <a:gd name="connsiteY49" fmla="*/ 4446324 h 6061990"/>
                <a:gd name="connsiteX50" fmla="*/ 992148 w 9143999"/>
                <a:gd name="connsiteY50" fmla="*/ 4123294 h 6061990"/>
                <a:gd name="connsiteX51" fmla="*/ 792588 w 9143999"/>
                <a:gd name="connsiteY51" fmla="*/ 3733758 h 6061990"/>
                <a:gd name="connsiteX52" fmla="*/ 761078 w 9143999"/>
                <a:gd name="connsiteY52" fmla="*/ 3296717 h 6061990"/>
                <a:gd name="connsiteX53" fmla="*/ 764579 w 9143999"/>
                <a:gd name="connsiteY53" fmla="*/ 3271381 h 6061990"/>
                <a:gd name="connsiteX54" fmla="*/ 767643 w 9143999"/>
                <a:gd name="connsiteY54" fmla="*/ 3257526 h 6061990"/>
                <a:gd name="connsiteX55" fmla="*/ 771582 w 9143999"/>
                <a:gd name="connsiteY55" fmla="*/ 3242878 h 6061990"/>
                <a:gd name="connsiteX56" fmla="*/ 774645 w 9143999"/>
                <a:gd name="connsiteY56" fmla="*/ 3234565 h 6061990"/>
                <a:gd name="connsiteX57" fmla="*/ 775083 w 9143999"/>
                <a:gd name="connsiteY57" fmla="*/ 3226251 h 6061990"/>
                <a:gd name="connsiteX58" fmla="*/ 775083 w 9143999"/>
                <a:gd name="connsiteY58" fmla="*/ 3223876 h 6061990"/>
                <a:gd name="connsiteX59" fmla="*/ 778146 w 9143999"/>
                <a:gd name="connsiteY59" fmla="*/ 3218334 h 6061990"/>
                <a:gd name="connsiteX60" fmla="*/ 782085 w 9143999"/>
                <a:gd name="connsiteY60" fmla="*/ 3195374 h 6061990"/>
                <a:gd name="connsiteX61" fmla="*/ 813594 w 9143999"/>
                <a:gd name="connsiteY61" fmla="*/ 3106699 h 6061990"/>
                <a:gd name="connsiteX62" fmla="*/ 890617 w 9143999"/>
                <a:gd name="connsiteY62" fmla="*/ 2926182 h 6061990"/>
                <a:gd name="connsiteX63" fmla="*/ 1156698 w 9143999"/>
                <a:gd name="connsiteY63" fmla="*/ 2565148 h 6061990"/>
                <a:gd name="connsiteX64" fmla="*/ 1576824 w 9143999"/>
                <a:gd name="connsiteY64" fmla="*/ 2254786 h 6061990"/>
                <a:gd name="connsiteX65" fmla="*/ 2077475 w 9143999"/>
                <a:gd name="connsiteY65" fmla="*/ 2055267 h 6061990"/>
                <a:gd name="connsiteX66" fmla="*/ 2560620 w 9143999"/>
                <a:gd name="connsiteY66" fmla="*/ 1947590 h 6061990"/>
                <a:gd name="connsiteX67" fmla="*/ 3005254 w 9143999"/>
                <a:gd name="connsiteY67" fmla="*/ 1890585 h 6061990"/>
                <a:gd name="connsiteX68" fmla="*/ 3404374 w 9143999"/>
                <a:gd name="connsiteY68" fmla="*/ 1852581 h 6061990"/>
                <a:gd name="connsiteX69" fmla="*/ 3754480 w 9143999"/>
                <a:gd name="connsiteY69" fmla="*/ 1814578 h 6061990"/>
                <a:gd name="connsiteX70" fmla="*/ 4006556 w 9143999"/>
                <a:gd name="connsiteY70" fmla="*/ 1763907 h 6061990"/>
                <a:gd name="connsiteX71" fmla="*/ 4083579 w 9143999"/>
                <a:gd name="connsiteY71" fmla="*/ 1738571 h 6061990"/>
                <a:gd name="connsiteX72" fmla="*/ 4136095 w 9143999"/>
                <a:gd name="connsiteY72" fmla="*/ 1713235 h 6061990"/>
                <a:gd name="connsiteX73" fmla="*/ 4178107 w 9143999"/>
                <a:gd name="connsiteY73" fmla="*/ 1672065 h 6061990"/>
                <a:gd name="connsiteX74" fmla="*/ 4209617 w 9143999"/>
                <a:gd name="connsiteY74" fmla="*/ 1605558 h 6061990"/>
                <a:gd name="connsiteX75" fmla="*/ 4227122 w 9143999"/>
                <a:gd name="connsiteY75" fmla="*/ 1513716 h 6061990"/>
                <a:gd name="connsiteX76" fmla="*/ 4227122 w 9143999"/>
                <a:gd name="connsiteY76" fmla="*/ 1505403 h 6061990"/>
                <a:gd name="connsiteX77" fmla="*/ 4227122 w 9143999"/>
                <a:gd name="connsiteY77" fmla="*/ 1495902 h 6061990"/>
                <a:gd name="connsiteX78" fmla="*/ 4227122 w 9143999"/>
                <a:gd name="connsiteY78" fmla="*/ 1482047 h 6061990"/>
                <a:gd name="connsiteX79" fmla="*/ 4223621 w 9143999"/>
                <a:gd name="connsiteY79" fmla="*/ 1463045 h 6061990"/>
                <a:gd name="connsiteX80" fmla="*/ 4192112 w 9143999"/>
                <a:gd name="connsiteY80" fmla="*/ 1409207 h 6061990"/>
                <a:gd name="connsiteX81" fmla="*/ 4118589 w 9143999"/>
                <a:gd name="connsiteY81" fmla="*/ 1342700 h 6061990"/>
                <a:gd name="connsiteX82" fmla="*/ 3884019 w 9143999"/>
                <a:gd name="connsiteY82" fmla="*/ 1203354 h 6061990"/>
                <a:gd name="connsiteX83" fmla="*/ 3582928 w 9143999"/>
                <a:gd name="connsiteY83" fmla="*/ 1076675 h 6061990"/>
                <a:gd name="connsiteX84" fmla="*/ 3253829 w 9143999"/>
                <a:gd name="connsiteY84" fmla="*/ 965832 h 6061990"/>
                <a:gd name="connsiteX85" fmla="*/ 2543115 w 9143999"/>
                <a:gd name="connsiteY85" fmla="*/ 772647 h 6061990"/>
                <a:gd name="connsiteX86" fmla="*/ 1041163 w 9143999"/>
                <a:gd name="connsiteY86" fmla="*/ 468619 h 6061990"/>
                <a:gd name="connsiteX87" fmla="*/ 0 w 9143999"/>
                <a:gd name="connsiteY87" fmla="*/ 304674 h 6061990"/>
                <a:gd name="connsiteX88" fmla="*/ 0 w 9143999"/>
                <a:gd name="connsiteY88" fmla="*/ 0 h 6061990"/>
                <a:gd name="connsiteX0" fmla="*/ 0 w 9143999"/>
                <a:gd name="connsiteY0" fmla="*/ 0 h 6061990"/>
                <a:gd name="connsiteX1" fmla="*/ 1153197 w 9143999"/>
                <a:gd name="connsiteY1" fmla="*/ 113919 h 6061990"/>
                <a:gd name="connsiteX2" fmla="*/ 2742675 w 9143999"/>
                <a:gd name="connsiteY2" fmla="*/ 338773 h 6061990"/>
                <a:gd name="connsiteX3" fmla="*/ 3537414 w 9143999"/>
                <a:gd name="connsiteY3" fmla="*/ 500288 h 6061990"/>
                <a:gd name="connsiteX4" fmla="*/ 3933033 w 9143999"/>
                <a:gd name="connsiteY4" fmla="*/ 607965 h 6061990"/>
                <a:gd name="connsiteX5" fmla="*/ 4328653 w 9143999"/>
                <a:gd name="connsiteY5" fmla="*/ 747311 h 6061990"/>
                <a:gd name="connsiteX6" fmla="*/ 4717270 w 9143999"/>
                <a:gd name="connsiteY6" fmla="*/ 940496 h 6061990"/>
                <a:gd name="connsiteX7" fmla="*/ 4902826 w 9143999"/>
                <a:gd name="connsiteY7" fmla="*/ 1079842 h 6061990"/>
                <a:gd name="connsiteX8" fmla="*/ 5053371 w 9143999"/>
                <a:gd name="connsiteY8" fmla="*/ 1260359 h 6061990"/>
                <a:gd name="connsiteX9" fmla="*/ 5102386 w 9143999"/>
                <a:gd name="connsiteY9" fmla="*/ 1371203 h 6061990"/>
                <a:gd name="connsiteX10" fmla="*/ 5116390 w 9143999"/>
                <a:gd name="connsiteY10" fmla="*/ 1428208 h 6061990"/>
                <a:gd name="connsiteX11" fmla="*/ 5116390 w 9143999"/>
                <a:gd name="connsiteY11" fmla="*/ 1434542 h 6061990"/>
                <a:gd name="connsiteX12" fmla="*/ 5119454 w 9143999"/>
                <a:gd name="connsiteY12" fmla="*/ 1440084 h 6061990"/>
                <a:gd name="connsiteX13" fmla="*/ 5119891 w 9143999"/>
                <a:gd name="connsiteY13" fmla="*/ 1446418 h 6061990"/>
                <a:gd name="connsiteX14" fmla="*/ 5126893 w 9143999"/>
                <a:gd name="connsiteY14" fmla="*/ 1472546 h 6061990"/>
                <a:gd name="connsiteX15" fmla="*/ 5144398 w 9143999"/>
                <a:gd name="connsiteY15" fmla="*/ 1646729 h 6061990"/>
                <a:gd name="connsiteX16" fmla="*/ 5112889 w 9143999"/>
                <a:gd name="connsiteY16" fmla="*/ 1843081 h 6061990"/>
                <a:gd name="connsiteX17" fmla="*/ 5000855 w 9143999"/>
                <a:gd name="connsiteY17" fmla="*/ 2048933 h 6061990"/>
                <a:gd name="connsiteX18" fmla="*/ 4808297 w 9143999"/>
                <a:gd name="connsiteY18" fmla="*/ 2235784 h 6061990"/>
                <a:gd name="connsiteX19" fmla="*/ 4570225 w 9143999"/>
                <a:gd name="connsiteY19" fmla="*/ 2371963 h 6061990"/>
                <a:gd name="connsiteX20" fmla="*/ 4325152 w 9143999"/>
                <a:gd name="connsiteY20" fmla="*/ 2470139 h 6061990"/>
                <a:gd name="connsiteX21" fmla="*/ 4094082 w 9143999"/>
                <a:gd name="connsiteY21" fmla="*/ 2536645 h 6061990"/>
                <a:gd name="connsiteX22" fmla="*/ 3670454 w 9143999"/>
                <a:gd name="connsiteY22" fmla="*/ 2634821 h 6061990"/>
                <a:gd name="connsiteX23" fmla="*/ 3292341 w 9143999"/>
                <a:gd name="connsiteY23" fmla="*/ 2713995 h 6061990"/>
                <a:gd name="connsiteX24" fmla="*/ 2966743 w 9143999"/>
                <a:gd name="connsiteY24" fmla="*/ 2796336 h 6061990"/>
                <a:gd name="connsiteX25" fmla="*/ 2711166 w 9143999"/>
                <a:gd name="connsiteY25" fmla="*/ 2888178 h 6061990"/>
                <a:gd name="connsiteX26" fmla="*/ 2550117 w 9143999"/>
                <a:gd name="connsiteY26" fmla="*/ 2986354 h 6061990"/>
                <a:gd name="connsiteX27" fmla="*/ 2466092 w 9143999"/>
                <a:gd name="connsiteY27" fmla="*/ 3087697 h 6061990"/>
                <a:gd name="connsiteX28" fmla="*/ 2420578 w 9143999"/>
                <a:gd name="connsiteY28" fmla="*/ 3217543 h 6061990"/>
                <a:gd name="connsiteX29" fmla="*/ 2410075 w 9143999"/>
                <a:gd name="connsiteY29" fmla="*/ 3296717 h 6061990"/>
                <a:gd name="connsiteX30" fmla="*/ 2406574 w 9143999"/>
                <a:gd name="connsiteY30" fmla="*/ 3341054 h 6061990"/>
                <a:gd name="connsiteX31" fmla="*/ 2410075 w 9143999"/>
                <a:gd name="connsiteY31" fmla="*/ 3371932 h 6061990"/>
                <a:gd name="connsiteX32" fmla="*/ 2445086 w 9143999"/>
                <a:gd name="connsiteY32" fmla="*/ 3470900 h 6061990"/>
                <a:gd name="connsiteX33" fmla="*/ 2529111 w 9143999"/>
                <a:gd name="connsiteY33" fmla="*/ 3575409 h 6061990"/>
                <a:gd name="connsiteX34" fmla="*/ 2886218 w 9143999"/>
                <a:gd name="connsiteY34" fmla="*/ 3828766 h 6061990"/>
                <a:gd name="connsiteX35" fmla="*/ 3414877 w 9143999"/>
                <a:gd name="connsiteY35" fmla="*/ 4075790 h 6061990"/>
                <a:gd name="connsiteX36" fmla="*/ 4034564 w 9143999"/>
                <a:gd name="connsiteY36" fmla="*/ 4294310 h 6061990"/>
                <a:gd name="connsiteX37" fmla="*/ 4706767 w 9143999"/>
                <a:gd name="connsiteY37" fmla="*/ 4487495 h 6061990"/>
                <a:gd name="connsiteX38" fmla="*/ 6128195 w 9143999"/>
                <a:gd name="connsiteY38" fmla="*/ 4810525 h 6061990"/>
                <a:gd name="connsiteX39" fmla="*/ 7609141 w 9143999"/>
                <a:gd name="connsiteY39" fmla="*/ 5070216 h 6061990"/>
                <a:gd name="connsiteX40" fmla="*/ 9118095 w 9143999"/>
                <a:gd name="connsiteY40" fmla="*/ 5285570 h 6061990"/>
                <a:gd name="connsiteX41" fmla="*/ 9143999 w 9143999"/>
                <a:gd name="connsiteY41" fmla="*/ 5288702 h 6061990"/>
                <a:gd name="connsiteX42" fmla="*/ 9143999 w 9143999"/>
                <a:gd name="connsiteY42" fmla="*/ 6061990 h 6061990"/>
                <a:gd name="connsiteX43" fmla="*/ 4752032 w 9143999"/>
                <a:gd name="connsiteY43" fmla="*/ 6061990 h 6061990"/>
                <a:gd name="connsiteX44" fmla="*/ 3828002 w 9143999"/>
                <a:gd name="connsiteY44" fmla="*/ 5760614 h 6061990"/>
                <a:gd name="connsiteX45" fmla="*/ 3071774 w 9143999"/>
                <a:gd name="connsiteY45" fmla="*/ 5475587 h 6061990"/>
                <a:gd name="connsiteX46" fmla="*/ 2329551 w 9143999"/>
                <a:gd name="connsiteY46" fmla="*/ 5136722 h 6061990"/>
                <a:gd name="connsiteX47" fmla="*/ 1615336 w 9143999"/>
                <a:gd name="connsiteY47" fmla="*/ 4712349 h 6061990"/>
                <a:gd name="connsiteX48" fmla="*/ 1282736 w 9143999"/>
                <a:gd name="connsiteY48" fmla="*/ 4446324 h 6061990"/>
                <a:gd name="connsiteX49" fmla="*/ 992148 w 9143999"/>
                <a:gd name="connsiteY49" fmla="*/ 4123294 h 6061990"/>
                <a:gd name="connsiteX50" fmla="*/ 792588 w 9143999"/>
                <a:gd name="connsiteY50" fmla="*/ 3733758 h 6061990"/>
                <a:gd name="connsiteX51" fmla="*/ 761078 w 9143999"/>
                <a:gd name="connsiteY51" fmla="*/ 3296717 h 6061990"/>
                <a:gd name="connsiteX52" fmla="*/ 764579 w 9143999"/>
                <a:gd name="connsiteY52" fmla="*/ 3271381 h 6061990"/>
                <a:gd name="connsiteX53" fmla="*/ 767643 w 9143999"/>
                <a:gd name="connsiteY53" fmla="*/ 3257526 h 6061990"/>
                <a:gd name="connsiteX54" fmla="*/ 771582 w 9143999"/>
                <a:gd name="connsiteY54" fmla="*/ 3242878 h 6061990"/>
                <a:gd name="connsiteX55" fmla="*/ 774645 w 9143999"/>
                <a:gd name="connsiteY55" fmla="*/ 3234565 h 6061990"/>
                <a:gd name="connsiteX56" fmla="*/ 775083 w 9143999"/>
                <a:gd name="connsiteY56" fmla="*/ 3226251 h 6061990"/>
                <a:gd name="connsiteX57" fmla="*/ 775083 w 9143999"/>
                <a:gd name="connsiteY57" fmla="*/ 3223876 h 6061990"/>
                <a:gd name="connsiteX58" fmla="*/ 778146 w 9143999"/>
                <a:gd name="connsiteY58" fmla="*/ 3218334 h 6061990"/>
                <a:gd name="connsiteX59" fmla="*/ 782085 w 9143999"/>
                <a:gd name="connsiteY59" fmla="*/ 3195374 h 6061990"/>
                <a:gd name="connsiteX60" fmla="*/ 813594 w 9143999"/>
                <a:gd name="connsiteY60" fmla="*/ 3106699 h 6061990"/>
                <a:gd name="connsiteX61" fmla="*/ 890617 w 9143999"/>
                <a:gd name="connsiteY61" fmla="*/ 2926182 h 6061990"/>
                <a:gd name="connsiteX62" fmla="*/ 1156698 w 9143999"/>
                <a:gd name="connsiteY62" fmla="*/ 2565148 h 6061990"/>
                <a:gd name="connsiteX63" fmla="*/ 1576824 w 9143999"/>
                <a:gd name="connsiteY63" fmla="*/ 2254786 h 6061990"/>
                <a:gd name="connsiteX64" fmla="*/ 2077475 w 9143999"/>
                <a:gd name="connsiteY64" fmla="*/ 2055267 h 6061990"/>
                <a:gd name="connsiteX65" fmla="*/ 2560620 w 9143999"/>
                <a:gd name="connsiteY65" fmla="*/ 1947590 h 6061990"/>
                <a:gd name="connsiteX66" fmla="*/ 3005254 w 9143999"/>
                <a:gd name="connsiteY66" fmla="*/ 1890585 h 6061990"/>
                <a:gd name="connsiteX67" fmla="*/ 3404374 w 9143999"/>
                <a:gd name="connsiteY67" fmla="*/ 1852581 h 6061990"/>
                <a:gd name="connsiteX68" fmla="*/ 3754480 w 9143999"/>
                <a:gd name="connsiteY68" fmla="*/ 1814578 h 6061990"/>
                <a:gd name="connsiteX69" fmla="*/ 4006556 w 9143999"/>
                <a:gd name="connsiteY69" fmla="*/ 1763907 h 6061990"/>
                <a:gd name="connsiteX70" fmla="*/ 4083579 w 9143999"/>
                <a:gd name="connsiteY70" fmla="*/ 1738571 h 6061990"/>
                <a:gd name="connsiteX71" fmla="*/ 4136095 w 9143999"/>
                <a:gd name="connsiteY71" fmla="*/ 1713235 h 6061990"/>
                <a:gd name="connsiteX72" fmla="*/ 4178107 w 9143999"/>
                <a:gd name="connsiteY72" fmla="*/ 1672065 h 6061990"/>
                <a:gd name="connsiteX73" fmla="*/ 4209617 w 9143999"/>
                <a:gd name="connsiteY73" fmla="*/ 1605558 h 6061990"/>
                <a:gd name="connsiteX74" fmla="*/ 4227122 w 9143999"/>
                <a:gd name="connsiteY74" fmla="*/ 1513716 h 6061990"/>
                <a:gd name="connsiteX75" fmla="*/ 4227122 w 9143999"/>
                <a:gd name="connsiteY75" fmla="*/ 1505403 h 6061990"/>
                <a:gd name="connsiteX76" fmla="*/ 4227122 w 9143999"/>
                <a:gd name="connsiteY76" fmla="*/ 1495902 h 6061990"/>
                <a:gd name="connsiteX77" fmla="*/ 4227122 w 9143999"/>
                <a:gd name="connsiteY77" fmla="*/ 1482047 h 6061990"/>
                <a:gd name="connsiteX78" fmla="*/ 4223621 w 9143999"/>
                <a:gd name="connsiteY78" fmla="*/ 1463045 h 6061990"/>
                <a:gd name="connsiteX79" fmla="*/ 4192112 w 9143999"/>
                <a:gd name="connsiteY79" fmla="*/ 1409207 h 6061990"/>
                <a:gd name="connsiteX80" fmla="*/ 4118589 w 9143999"/>
                <a:gd name="connsiteY80" fmla="*/ 1342700 h 6061990"/>
                <a:gd name="connsiteX81" fmla="*/ 3884019 w 9143999"/>
                <a:gd name="connsiteY81" fmla="*/ 1203354 h 6061990"/>
                <a:gd name="connsiteX82" fmla="*/ 3582928 w 9143999"/>
                <a:gd name="connsiteY82" fmla="*/ 1076675 h 6061990"/>
                <a:gd name="connsiteX83" fmla="*/ 3253829 w 9143999"/>
                <a:gd name="connsiteY83" fmla="*/ 965832 h 6061990"/>
                <a:gd name="connsiteX84" fmla="*/ 2543115 w 9143999"/>
                <a:gd name="connsiteY84" fmla="*/ 772647 h 6061990"/>
                <a:gd name="connsiteX85" fmla="*/ 1041163 w 9143999"/>
                <a:gd name="connsiteY85" fmla="*/ 468619 h 6061990"/>
                <a:gd name="connsiteX86" fmla="*/ 0 w 9143999"/>
                <a:gd name="connsiteY86" fmla="*/ 304674 h 6061990"/>
                <a:gd name="connsiteX87" fmla="*/ 0 w 9143999"/>
                <a:gd name="connsiteY87" fmla="*/ 0 h 6061990"/>
                <a:gd name="connsiteX0" fmla="*/ 0 w 9143999"/>
                <a:gd name="connsiteY0" fmla="*/ 0 h 6061990"/>
                <a:gd name="connsiteX1" fmla="*/ 1153197 w 9143999"/>
                <a:gd name="connsiteY1" fmla="*/ 113919 h 6061990"/>
                <a:gd name="connsiteX2" fmla="*/ 2742675 w 9143999"/>
                <a:gd name="connsiteY2" fmla="*/ 338773 h 6061990"/>
                <a:gd name="connsiteX3" fmla="*/ 3537414 w 9143999"/>
                <a:gd name="connsiteY3" fmla="*/ 500288 h 6061990"/>
                <a:gd name="connsiteX4" fmla="*/ 3933033 w 9143999"/>
                <a:gd name="connsiteY4" fmla="*/ 607965 h 6061990"/>
                <a:gd name="connsiteX5" fmla="*/ 4328653 w 9143999"/>
                <a:gd name="connsiteY5" fmla="*/ 747311 h 6061990"/>
                <a:gd name="connsiteX6" fmla="*/ 4717270 w 9143999"/>
                <a:gd name="connsiteY6" fmla="*/ 940496 h 6061990"/>
                <a:gd name="connsiteX7" fmla="*/ 4902826 w 9143999"/>
                <a:gd name="connsiteY7" fmla="*/ 1079842 h 6061990"/>
                <a:gd name="connsiteX8" fmla="*/ 5053371 w 9143999"/>
                <a:gd name="connsiteY8" fmla="*/ 1260359 h 6061990"/>
                <a:gd name="connsiteX9" fmla="*/ 5102386 w 9143999"/>
                <a:gd name="connsiteY9" fmla="*/ 1371203 h 6061990"/>
                <a:gd name="connsiteX10" fmla="*/ 5116390 w 9143999"/>
                <a:gd name="connsiteY10" fmla="*/ 1428208 h 6061990"/>
                <a:gd name="connsiteX11" fmla="*/ 5116390 w 9143999"/>
                <a:gd name="connsiteY11" fmla="*/ 1434542 h 6061990"/>
                <a:gd name="connsiteX12" fmla="*/ 5119454 w 9143999"/>
                <a:gd name="connsiteY12" fmla="*/ 1440084 h 6061990"/>
                <a:gd name="connsiteX13" fmla="*/ 5119891 w 9143999"/>
                <a:gd name="connsiteY13" fmla="*/ 1446418 h 6061990"/>
                <a:gd name="connsiteX14" fmla="*/ 5126893 w 9143999"/>
                <a:gd name="connsiteY14" fmla="*/ 1472546 h 6061990"/>
                <a:gd name="connsiteX15" fmla="*/ 5144398 w 9143999"/>
                <a:gd name="connsiteY15" fmla="*/ 1646729 h 6061990"/>
                <a:gd name="connsiteX16" fmla="*/ 5112889 w 9143999"/>
                <a:gd name="connsiteY16" fmla="*/ 1843081 h 6061990"/>
                <a:gd name="connsiteX17" fmla="*/ 5000855 w 9143999"/>
                <a:gd name="connsiteY17" fmla="*/ 2048933 h 6061990"/>
                <a:gd name="connsiteX18" fmla="*/ 4808297 w 9143999"/>
                <a:gd name="connsiteY18" fmla="*/ 2235784 h 6061990"/>
                <a:gd name="connsiteX19" fmla="*/ 4570225 w 9143999"/>
                <a:gd name="connsiteY19" fmla="*/ 2371963 h 6061990"/>
                <a:gd name="connsiteX20" fmla="*/ 4325152 w 9143999"/>
                <a:gd name="connsiteY20" fmla="*/ 2470139 h 6061990"/>
                <a:gd name="connsiteX21" fmla="*/ 4094082 w 9143999"/>
                <a:gd name="connsiteY21" fmla="*/ 2536645 h 6061990"/>
                <a:gd name="connsiteX22" fmla="*/ 3670454 w 9143999"/>
                <a:gd name="connsiteY22" fmla="*/ 2634821 h 6061990"/>
                <a:gd name="connsiteX23" fmla="*/ 3292341 w 9143999"/>
                <a:gd name="connsiteY23" fmla="*/ 2713995 h 6061990"/>
                <a:gd name="connsiteX24" fmla="*/ 2966743 w 9143999"/>
                <a:gd name="connsiteY24" fmla="*/ 2796336 h 6061990"/>
                <a:gd name="connsiteX25" fmla="*/ 2711166 w 9143999"/>
                <a:gd name="connsiteY25" fmla="*/ 2888178 h 6061990"/>
                <a:gd name="connsiteX26" fmla="*/ 2550117 w 9143999"/>
                <a:gd name="connsiteY26" fmla="*/ 2986354 h 6061990"/>
                <a:gd name="connsiteX27" fmla="*/ 2466092 w 9143999"/>
                <a:gd name="connsiteY27" fmla="*/ 3087697 h 6061990"/>
                <a:gd name="connsiteX28" fmla="*/ 2420578 w 9143999"/>
                <a:gd name="connsiteY28" fmla="*/ 3217543 h 6061990"/>
                <a:gd name="connsiteX29" fmla="*/ 2410075 w 9143999"/>
                <a:gd name="connsiteY29" fmla="*/ 3296717 h 6061990"/>
                <a:gd name="connsiteX30" fmla="*/ 2406574 w 9143999"/>
                <a:gd name="connsiteY30" fmla="*/ 3341054 h 6061990"/>
                <a:gd name="connsiteX31" fmla="*/ 2445086 w 9143999"/>
                <a:gd name="connsiteY31" fmla="*/ 3470900 h 6061990"/>
                <a:gd name="connsiteX32" fmla="*/ 2529111 w 9143999"/>
                <a:gd name="connsiteY32" fmla="*/ 3575409 h 6061990"/>
                <a:gd name="connsiteX33" fmla="*/ 2886218 w 9143999"/>
                <a:gd name="connsiteY33" fmla="*/ 3828766 h 6061990"/>
                <a:gd name="connsiteX34" fmla="*/ 3414877 w 9143999"/>
                <a:gd name="connsiteY34" fmla="*/ 4075790 h 6061990"/>
                <a:gd name="connsiteX35" fmla="*/ 4034564 w 9143999"/>
                <a:gd name="connsiteY35" fmla="*/ 4294310 h 6061990"/>
                <a:gd name="connsiteX36" fmla="*/ 4706767 w 9143999"/>
                <a:gd name="connsiteY36" fmla="*/ 4487495 h 6061990"/>
                <a:gd name="connsiteX37" fmla="*/ 6128195 w 9143999"/>
                <a:gd name="connsiteY37" fmla="*/ 4810525 h 6061990"/>
                <a:gd name="connsiteX38" fmla="*/ 7609141 w 9143999"/>
                <a:gd name="connsiteY38" fmla="*/ 5070216 h 6061990"/>
                <a:gd name="connsiteX39" fmla="*/ 9118095 w 9143999"/>
                <a:gd name="connsiteY39" fmla="*/ 5285570 h 6061990"/>
                <a:gd name="connsiteX40" fmla="*/ 9143999 w 9143999"/>
                <a:gd name="connsiteY40" fmla="*/ 5288702 h 6061990"/>
                <a:gd name="connsiteX41" fmla="*/ 9143999 w 9143999"/>
                <a:gd name="connsiteY41" fmla="*/ 6061990 h 6061990"/>
                <a:gd name="connsiteX42" fmla="*/ 4752032 w 9143999"/>
                <a:gd name="connsiteY42" fmla="*/ 6061990 h 6061990"/>
                <a:gd name="connsiteX43" fmla="*/ 3828002 w 9143999"/>
                <a:gd name="connsiteY43" fmla="*/ 5760614 h 6061990"/>
                <a:gd name="connsiteX44" fmla="*/ 3071774 w 9143999"/>
                <a:gd name="connsiteY44" fmla="*/ 5475587 h 6061990"/>
                <a:gd name="connsiteX45" fmla="*/ 2329551 w 9143999"/>
                <a:gd name="connsiteY45" fmla="*/ 5136722 h 6061990"/>
                <a:gd name="connsiteX46" fmla="*/ 1615336 w 9143999"/>
                <a:gd name="connsiteY46" fmla="*/ 4712349 h 6061990"/>
                <a:gd name="connsiteX47" fmla="*/ 1282736 w 9143999"/>
                <a:gd name="connsiteY47" fmla="*/ 4446324 h 6061990"/>
                <a:gd name="connsiteX48" fmla="*/ 992148 w 9143999"/>
                <a:gd name="connsiteY48" fmla="*/ 4123294 h 6061990"/>
                <a:gd name="connsiteX49" fmla="*/ 792588 w 9143999"/>
                <a:gd name="connsiteY49" fmla="*/ 3733758 h 6061990"/>
                <a:gd name="connsiteX50" fmla="*/ 761078 w 9143999"/>
                <a:gd name="connsiteY50" fmla="*/ 3296717 h 6061990"/>
                <a:gd name="connsiteX51" fmla="*/ 764579 w 9143999"/>
                <a:gd name="connsiteY51" fmla="*/ 3271381 h 6061990"/>
                <a:gd name="connsiteX52" fmla="*/ 767643 w 9143999"/>
                <a:gd name="connsiteY52" fmla="*/ 3257526 h 6061990"/>
                <a:gd name="connsiteX53" fmla="*/ 771582 w 9143999"/>
                <a:gd name="connsiteY53" fmla="*/ 3242878 h 6061990"/>
                <a:gd name="connsiteX54" fmla="*/ 774645 w 9143999"/>
                <a:gd name="connsiteY54" fmla="*/ 3234565 h 6061990"/>
                <a:gd name="connsiteX55" fmla="*/ 775083 w 9143999"/>
                <a:gd name="connsiteY55" fmla="*/ 3226251 h 6061990"/>
                <a:gd name="connsiteX56" fmla="*/ 775083 w 9143999"/>
                <a:gd name="connsiteY56" fmla="*/ 3223876 h 6061990"/>
                <a:gd name="connsiteX57" fmla="*/ 778146 w 9143999"/>
                <a:gd name="connsiteY57" fmla="*/ 3218334 h 6061990"/>
                <a:gd name="connsiteX58" fmla="*/ 782085 w 9143999"/>
                <a:gd name="connsiteY58" fmla="*/ 3195374 h 6061990"/>
                <a:gd name="connsiteX59" fmla="*/ 813594 w 9143999"/>
                <a:gd name="connsiteY59" fmla="*/ 3106699 h 6061990"/>
                <a:gd name="connsiteX60" fmla="*/ 890617 w 9143999"/>
                <a:gd name="connsiteY60" fmla="*/ 2926182 h 6061990"/>
                <a:gd name="connsiteX61" fmla="*/ 1156698 w 9143999"/>
                <a:gd name="connsiteY61" fmla="*/ 2565148 h 6061990"/>
                <a:gd name="connsiteX62" fmla="*/ 1576824 w 9143999"/>
                <a:gd name="connsiteY62" fmla="*/ 2254786 h 6061990"/>
                <a:gd name="connsiteX63" fmla="*/ 2077475 w 9143999"/>
                <a:gd name="connsiteY63" fmla="*/ 2055267 h 6061990"/>
                <a:gd name="connsiteX64" fmla="*/ 2560620 w 9143999"/>
                <a:gd name="connsiteY64" fmla="*/ 1947590 h 6061990"/>
                <a:gd name="connsiteX65" fmla="*/ 3005254 w 9143999"/>
                <a:gd name="connsiteY65" fmla="*/ 1890585 h 6061990"/>
                <a:gd name="connsiteX66" fmla="*/ 3404374 w 9143999"/>
                <a:gd name="connsiteY66" fmla="*/ 1852581 h 6061990"/>
                <a:gd name="connsiteX67" fmla="*/ 3754480 w 9143999"/>
                <a:gd name="connsiteY67" fmla="*/ 1814578 h 6061990"/>
                <a:gd name="connsiteX68" fmla="*/ 4006556 w 9143999"/>
                <a:gd name="connsiteY68" fmla="*/ 1763907 h 6061990"/>
                <a:gd name="connsiteX69" fmla="*/ 4083579 w 9143999"/>
                <a:gd name="connsiteY69" fmla="*/ 1738571 h 6061990"/>
                <a:gd name="connsiteX70" fmla="*/ 4136095 w 9143999"/>
                <a:gd name="connsiteY70" fmla="*/ 1713235 h 6061990"/>
                <a:gd name="connsiteX71" fmla="*/ 4178107 w 9143999"/>
                <a:gd name="connsiteY71" fmla="*/ 1672065 h 6061990"/>
                <a:gd name="connsiteX72" fmla="*/ 4209617 w 9143999"/>
                <a:gd name="connsiteY72" fmla="*/ 1605558 h 6061990"/>
                <a:gd name="connsiteX73" fmla="*/ 4227122 w 9143999"/>
                <a:gd name="connsiteY73" fmla="*/ 1513716 h 6061990"/>
                <a:gd name="connsiteX74" fmla="*/ 4227122 w 9143999"/>
                <a:gd name="connsiteY74" fmla="*/ 1505403 h 6061990"/>
                <a:gd name="connsiteX75" fmla="*/ 4227122 w 9143999"/>
                <a:gd name="connsiteY75" fmla="*/ 1495902 h 6061990"/>
                <a:gd name="connsiteX76" fmla="*/ 4227122 w 9143999"/>
                <a:gd name="connsiteY76" fmla="*/ 1482047 h 6061990"/>
                <a:gd name="connsiteX77" fmla="*/ 4223621 w 9143999"/>
                <a:gd name="connsiteY77" fmla="*/ 1463045 h 6061990"/>
                <a:gd name="connsiteX78" fmla="*/ 4192112 w 9143999"/>
                <a:gd name="connsiteY78" fmla="*/ 1409207 h 6061990"/>
                <a:gd name="connsiteX79" fmla="*/ 4118589 w 9143999"/>
                <a:gd name="connsiteY79" fmla="*/ 1342700 h 6061990"/>
                <a:gd name="connsiteX80" fmla="*/ 3884019 w 9143999"/>
                <a:gd name="connsiteY80" fmla="*/ 1203354 h 6061990"/>
                <a:gd name="connsiteX81" fmla="*/ 3582928 w 9143999"/>
                <a:gd name="connsiteY81" fmla="*/ 1076675 h 6061990"/>
                <a:gd name="connsiteX82" fmla="*/ 3253829 w 9143999"/>
                <a:gd name="connsiteY82" fmla="*/ 965832 h 6061990"/>
                <a:gd name="connsiteX83" fmla="*/ 2543115 w 9143999"/>
                <a:gd name="connsiteY83" fmla="*/ 772647 h 6061990"/>
                <a:gd name="connsiteX84" fmla="*/ 1041163 w 9143999"/>
                <a:gd name="connsiteY84" fmla="*/ 468619 h 6061990"/>
                <a:gd name="connsiteX85" fmla="*/ 0 w 9143999"/>
                <a:gd name="connsiteY85" fmla="*/ 304674 h 6061990"/>
                <a:gd name="connsiteX86" fmla="*/ 0 w 9143999"/>
                <a:gd name="connsiteY86" fmla="*/ 0 h 6061990"/>
                <a:gd name="connsiteX0" fmla="*/ 0 w 9143999"/>
                <a:gd name="connsiteY0" fmla="*/ 0 h 6061990"/>
                <a:gd name="connsiteX1" fmla="*/ 1153197 w 9143999"/>
                <a:gd name="connsiteY1" fmla="*/ 113919 h 6061990"/>
                <a:gd name="connsiteX2" fmla="*/ 2742675 w 9143999"/>
                <a:gd name="connsiteY2" fmla="*/ 338773 h 6061990"/>
                <a:gd name="connsiteX3" fmla="*/ 3537414 w 9143999"/>
                <a:gd name="connsiteY3" fmla="*/ 500288 h 6061990"/>
                <a:gd name="connsiteX4" fmla="*/ 3933033 w 9143999"/>
                <a:gd name="connsiteY4" fmla="*/ 607965 h 6061990"/>
                <a:gd name="connsiteX5" fmla="*/ 4328653 w 9143999"/>
                <a:gd name="connsiteY5" fmla="*/ 747311 h 6061990"/>
                <a:gd name="connsiteX6" fmla="*/ 4717270 w 9143999"/>
                <a:gd name="connsiteY6" fmla="*/ 940496 h 6061990"/>
                <a:gd name="connsiteX7" fmla="*/ 4902826 w 9143999"/>
                <a:gd name="connsiteY7" fmla="*/ 1079842 h 6061990"/>
                <a:gd name="connsiteX8" fmla="*/ 5053371 w 9143999"/>
                <a:gd name="connsiteY8" fmla="*/ 1260359 h 6061990"/>
                <a:gd name="connsiteX9" fmla="*/ 5102386 w 9143999"/>
                <a:gd name="connsiteY9" fmla="*/ 1371203 h 6061990"/>
                <a:gd name="connsiteX10" fmla="*/ 5116390 w 9143999"/>
                <a:gd name="connsiteY10" fmla="*/ 1428208 h 6061990"/>
                <a:gd name="connsiteX11" fmla="*/ 5116390 w 9143999"/>
                <a:gd name="connsiteY11" fmla="*/ 1434542 h 6061990"/>
                <a:gd name="connsiteX12" fmla="*/ 5119454 w 9143999"/>
                <a:gd name="connsiteY12" fmla="*/ 1440084 h 6061990"/>
                <a:gd name="connsiteX13" fmla="*/ 5119891 w 9143999"/>
                <a:gd name="connsiteY13" fmla="*/ 1446418 h 6061990"/>
                <a:gd name="connsiteX14" fmla="*/ 5126893 w 9143999"/>
                <a:gd name="connsiteY14" fmla="*/ 1472546 h 6061990"/>
                <a:gd name="connsiteX15" fmla="*/ 5144398 w 9143999"/>
                <a:gd name="connsiteY15" fmla="*/ 1646729 h 6061990"/>
                <a:gd name="connsiteX16" fmla="*/ 5112889 w 9143999"/>
                <a:gd name="connsiteY16" fmla="*/ 1843081 h 6061990"/>
                <a:gd name="connsiteX17" fmla="*/ 5000855 w 9143999"/>
                <a:gd name="connsiteY17" fmla="*/ 2048933 h 6061990"/>
                <a:gd name="connsiteX18" fmla="*/ 4808297 w 9143999"/>
                <a:gd name="connsiteY18" fmla="*/ 2235784 h 6061990"/>
                <a:gd name="connsiteX19" fmla="*/ 4570225 w 9143999"/>
                <a:gd name="connsiteY19" fmla="*/ 2371963 h 6061990"/>
                <a:gd name="connsiteX20" fmla="*/ 4325152 w 9143999"/>
                <a:gd name="connsiteY20" fmla="*/ 2470139 h 6061990"/>
                <a:gd name="connsiteX21" fmla="*/ 4094082 w 9143999"/>
                <a:gd name="connsiteY21" fmla="*/ 2536645 h 6061990"/>
                <a:gd name="connsiteX22" fmla="*/ 3670454 w 9143999"/>
                <a:gd name="connsiteY22" fmla="*/ 2634821 h 6061990"/>
                <a:gd name="connsiteX23" fmla="*/ 3292341 w 9143999"/>
                <a:gd name="connsiteY23" fmla="*/ 2713995 h 6061990"/>
                <a:gd name="connsiteX24" fmla="*/ 2966743 w 9143999"/>
                <a:gd name="connsiteY24" fmla="*/ 2796336 h 6061990"/>
                <a:gd name="connsiteX25" fmla="*/ 2711166 w 9143999"/>
                <a:gd name="connsiteY25" fmla="*/ 2888178 h 6061990"/>
                <a:gd name="connsiteX26" fmla="*/ 2550117 w 9143999"/>
                <a:gd name="connsiteY26" fmla="*/ 2986354 h 6061990"/>
                <a:gd name="connsiteX27" fmla="*/ 2466092 w 9143999"/>
                <a:gd name="connsiteY27" fmla="*/ 3087697 h 6061990"/>
                <a:gd name="connsiteX28" fmla="*/ 2420578 w 9143999"/>
                <a:gd name="connsiteY28" fmla="*/ 3217543 h 6061990"/>
                <a:gd name="connsiteX29" fmla="*/ 2410075 w 9143999"/>
                <a:gd name="connsiteY29" fmla="*/ 3296717 h 6061990"/>
                <a:gd name="connsiteX30" fmla="*/ 2445086 w 9143999"/>
                <a:gd name="connsiteY30" fmla="*/ 3470900 h 6061990"/>
                <a:gd name="connsiteX31" fmla="*/ 2529111 w 9143999"/>
                <a:gd name="connsiteY31" fmla="*/ 3575409 h 6061990"/>
                <a:gd name="connsiteX32" fmla="*/ 2886218 w 9143999"/>
                <a:gd name="connsiteY32" fmla="*/ 3828766 h 6061990"/>
                <a:gd name="connsiteX33" fmla="*/ 3414877 w 9143999"/>
                <a:gd name="connsiteY33" fmla="*/ 4075790 h 6061990"/>
                <a:gd name="connsiteX34" fmla="*/ 4034564 w 9143999"/>
                <a:gd name="connsiteY34" fmla="*/ 4294310 h 6061990"/>
                <a:gd name="connsiteX35" fmla="*/ 4706767 w 9143999"/>
                <a:gd name="connsiteY35" fmla="*/ 4487495 h 6061990"/>
                <a:gd name="connsiteX36" fmla="*/ 6128195 w 9143999"/>
                <a:gd name="connsiteY36" fmla="*/ 4810525 h 6061990"/>
                <a:gd name="connsiteX37" fmla="*/ 7609141 w 9143999"/>
                <a:gd name="connsiteY37" fmla="*/ 5070216 h 6061990"/>
                <a:gd name="connsiteX38" fmla="*/ 9118095 w 9143999"/>
                <a:gd name="connsiteY38" fmla="*/ 5285570 h 6061990"/>
                <a:gd name="connsiteX39" fmla="*/ 9143999 w 9143999"/>
                <a:gd name="connsiteY39" fmla="*/ 5288702 h 6061990"/>
                <a:gd name="connsiteX40" fmla="*/ 9143999 w 9143999"/>
                <a:gd name="connsiteY40" fmla="*/ 6061990 h 6061990"/>
                <a:gd name="connsiteX41" fmla="*/ 4752032 w 9143999"/>
                <a:gd name="connsiteY41" fmla="*/ 6061990 h 6061990"/>
                <a:gd name="connsiteX42" fmla="*/ 3828002 w 9143999"/>
                <a:gd name="connsiteY42" fmla="*/ 5760614 h 6061990"/>
                <a:gd name="connsiteX43" fmla="*/ 3071774 w 9143999"/>
                <a:gd name="connsiteY43" fmla="*/ 5475587 h 6061990"/>
                <a:gd name="connsiteX44" fmla="*/ 2329551 w 9143999"/>
                <a:gd name="connsiteY44" fmla="*/ 5136722 h 6061990"/>
                <a:gd name="connsiteX45" fmla="*/ 1615336 w 9143999"/>
                <a:gd name="connsiteY45" fmla="*/ 4712349 h 6061990"/>
                <a:gd name="connsiteX46" fmla="*/ 1282736 w 9143999"/>
                <a:gd name="connsiteY46" fmla="*/ 4446324 h 6061990"/>
                <a:gd name="connsiteX47" fmla="*/ 992148 w 9143999"/>
                <a:gd name="connsiteY47" fmla="*/ 4123294 h 6061990"/>
                <a:gd name="connsiteX48" fmla="*/ 792588 w 9143999"/>
                <a:gd name="connsiteY48" fmla="*/ 3733758 h 6061990"/>
                <a:gd name="connsiteX49" fmla="*/ 761078 w 9143999"/>
                <a:gd name="connsiteY49" fmla="*/ 3296717 h 6061990"/>
                <a:gd name="connsiteX50" fmla="*/ 764579 w 9143999"/>
                <a:gd name="connsiteY50" fmla="*/ 3271381 h 6061990"/>
                <a:gd name="connsiteX51" fmla="*/ 767643 w 9143999"/>
                <a:gd name="connsiteY51" fmla="*/ 3257526 h 6061990"/>
                <a:gd name="connsiteX52" fmla="*/ 771582 w 9143999"/>
                <a:gd name="connsiteY52" fmla="*/ 3242878 h 6061990"/>
                <a:gd name="connsiteX53" fmla="*/ 774645 w 9143999"/>
                <a:gd name="connsiteY53" fmla="*/ 3234565 h 6061990"/>
                <a:gd name="connsiteX54" fmla="*/ 775083 w 9143999"/>
                <a:gd name="connsiteY54" fmla="*/ 3226251 h 6061990"/>
                <a:gd name="connsiteX55" fmla="*/ 775083 w 9143999"/>
                <a:gd name="connsiteY55" fmla="*/ 3223876 h 6061990"/>
                <a:gd name="connsiteX56" fmla="*/ 778146 w 9143999"/>
                <a:gd name="connsiteY56" fmla="*/ 3218334 h 6061990"/>
                <a:gd name="connsiteX57" fmla="*/ 782085 w 9143999"/>
                <a:gd name="connsiteY57" fmla="*/ 3195374 h 6061990"/>
                <a:gd name="connsiteX58" fmla="*/ 813594 w 9143999"/>
                <a:gd name="connsiteY58" fmla="*/ 3106699 h 6061990"/>
                <a:gd name="connsiteX59" fmla="*/ 890617 w 9143999"/>
                <a:gd name="connsiteY59" fmla="*/ 2926182 h 6061990"/>
                <a:gd name="connsiteX60" fmla="*/ 1156698 w 9143999"/>
                <a:gd name="connsiteY60" fmla="*/ 2565148 h 6061990"/>
                <a:gd name="connsiteX61" fmla="*/ 1576824 w 9143999"/>
                <a:gd name="connsiteY61" fmla="*/ 2254786 h 6061990"/>
                <a:gd name="connsiteX62" fmla="*/ 2077475 w 9143999"/>
                <a:gd name="connsiteY62" fmla="*/ 2055267 h 6061990"/>
                <a:gd name="connsiteX63" fmla="*/ 2560620 w 9143999"/>
                <a:gd name="connsiteY63" fmla="*/ 1947590 h 6061990"/>
                <a:gd name="connsiteX64" fmla="*/ 3005254 w 9143999"/>
                <a:gd name="connsiteY64" fmla="*/ 1890585 h 6061990"/>
                <a:gd name="connsiteX65" fmla="*/ 3404374 w 9143999"/>
                <a:gd name="connsiteY65" fmla="*/ 1852581 h 6061990"/>
                <a:gd name="connsiteX66" fmla="*/ 3754480 w 9143999"/>
                <a:gd name="connsiteY66" fmla="*/ 1814578 h 6061990"/>
                <a:gd name="connsiteX67" fmla="*/ 4006556 w 9143999"/>
                <a:gd name="connsiteY67" fmla="*/ 1763907 h 6061990"/>
                <a:gd name="connsiteX68" fmla="*/ 4083579 w 9143999"/>
                <a:gd name="connsiteY68" fmla="*/ 1738571 h 6061990"/>
                <a:gd name="connsiteX69" fmla="*/ 4136095 w 9143999"/>
                <a:gd name="connsiteY69" fmla="*/ 1713235 h 6061990"/>
                <a:gd name="connsiteX70" fmla="*/ 4178107 w 9143999"/>
                <a:gd name="connsiteY70" fmla="*/ 1672065 h 6061990"/>
                <a:gd name="connsiteX71" fmla="*/ 4209617 w 9143999"/>
                <a:gd name="connsiteY71" fmla="*/ 1605558 h 6061990"/>
                <a:gd name="connsiteX72" fmla="*/ 4227122 w 9143999"/>
                <a:gd name="connsiteY72" fmla="*/ 1513716 h 6061990"/>
                <a:gd name="connsiteX73" fmla="*/ 4227122 w 9143999"/>
                <a:gd name="connsiteY73" fmla="*/ 1505403 h 6061990"/>
                <a:gd name="connsiteX74" fmla="*/ 4227122 w 9143999"/>
                <a:gd name="connsiteY74" fmla="*/ 1495902 h 6061990"/>
                <a:gd name="connsiteX75" fmla="*/ 4227122 w 9143999"/>
                <a:gd name="connsiteY75" fmla="*/ 1482047 h 6061990"/>
                <a:gd name="connsiteX76" fmla="*/ 4223621 w 9143999"/>
                <a:gd name="connsiteY76" fmla="*/ 1463045 h 6061990"/>
                <a:gd name="connsiteX77" fmla="*/ 4192112 w 9143999"/>
                <a:gd name="connsiteY77" fmla="*/ 1409207 h 6061990"/>
                <a:gd name="connsiteX78" fmla="*/ 4118589 w 9143999"/>
                <a:gd name="connsiteY78" fmla="*/ 1342700 h 6061990"/>
                <a:gd name="connsiteX79" fmla="*/ 3884019 w 9143999"/>
                <a:gd name="connsiteY79" fmla="*/ 1203354 h 6061990"/>
                <a:gd name="connsiteX80" fmla="*/ 3582928 w 9143999"/>
                <a:gd name="connsiteY80" fmla="*/ 1076675 h 6061990"/>
                <a:gd name="connsiteX81" fmla="*/ 3253829 w 9143999"/>
                <a:gd name="connsiteY81" fmla="*/ 965832 h 6061990"/>
                <a:gd name="connsiteX82" fmla="*/ 2543115 w 9143999"/>
                <a:gd name="connsiteY82" fmla="*/ 772647 h 6061990"/>
                <a:gd name="connsiteX83" fmla="*/ 1041163 w 9143999"/>
                <a:gd name="connsiteY83" fmla="*/ 468619 h 6061990"/>
                <a:gd name="connsiteX84" fmla="*/ 0 w 9143999"/>
                <a:gd name="connsiteY84" fmla="*/ 304674 h 6061990"/>
                <a:gd name="connsiteX85" fmla="*/ 0 w 9143999"/>
                <a:gd name="connsiteY85" fmla="*/ 0 h 6061990"/>
                <a:gd name="connsiteX0" fmla="*/ 0 w 9143999"/>
                <a:gd name="connsiteY0" fmla="*/ 0 h 6061990"/>
                <a:gd name="connsiteX1" fmla="*/ 1153197 w 9143999"/>
                <a:gd name="connsiteY1" fmla="*/ 113919 h 6061990"/>
                <a:gd name="connsiteX2" fmla="*/ 2742675 w 9143999"/>
                <a:gd name="connsiteY2" fmla="*/ 338773 h 6061990"/>
                <a:gd name="connsiteX3" fmla="*/ 3537414 w 9143999"/>
                <a:gd name="connsiteY3" fmla="*/ 500288 h 6061990"/>
                <a:gd name="connsiteX4" fmla="*/ 3933033 w 9143999"/>
                <a:gd name="connsiteY4" fmla="*/ 607965 h 6061990"/>
                <a:gd name="connsiteX5" fmla="*/ 4328653 w 9143999"/>
                <a:gd name="connsiteY5" fmla="*/ 747311 h 6061990"/>
                <a:gd name="connsiteX6" fmla="*/ 4717270 w 9143999"/>
                <a:gd name="connsiteY6" fmla="*/ 940496 h 6061990"/>
                <a:gd name="connsiteX7" fmla="*/ 4902826 w 9143999"/>
                <a:gd name="connsiteY7" fmla="*/ 1079842 h 6061990"/>
                <a:gd name="connsiteX8" fmla="*/ 5053371 w 9143999"/>
                <a:gd name="connsiteY8" fmla="*/ 1260359 h 6061990"/>
                <a:gd name="connsiteX9" fmla="*/ 5102386 w 9143999"/>
                <a:gd name="connsiteY9" fmla="*/ 1371203 h 6061990"/>
                <a:gd name="connsiteX10" fmla="*/ 5116390 w 9143999"/>
                <a:gd name="connsiteY10" fmla="*/ 1428208 h 6061990"/>
                <a:gd name="connsiteX11" fmla="*/ 5116390 w 9143999"/>
                <a:gd name="connsiteY11" fmla="*/ 1434542 h 6061990"/>
                <a:gd name="connsiteX12" fmla="*/ 5119454 w 9143999"/>
                <a:gd name="connsiteY12" fmla="*/ 1440084 h 6061990"/>
                <a:gd name="connsiteX13" fmla="*/ 5119891 w 9143999"/>
                <a:gd name="connsiteY13" fmla="*/ 1446418 h 6061990"/>
                <a:gd name="connsiteX14" fmla="*/ 5126893 w 9143999"/>
                <a:gd name="connsiteY14" fmla="*/ 1472546 h 6061990"/>
                <a:gd name="connsiteX15" fmla="*/ 5144398 w 9143999"/>
                <a:gd name="connsiteY15" fmla="*/ 1646729 h 6061990"/>
                <a:gd name="connsiteX16" fmla="*/ 5112889 w 9143999"/>
                <a:gd name="connsiteY16" fmla="*/ 1843081 h 6061990"/>
                <a:gd name="connsiteX17" fmla="*/ 5000855 w 9143999"/>
                <a:gd name="connsiteY17" fmla="*/ 2048933 h 6061990"/>
                <a:gd name="connsiteX18" fmla="*/ 4808297 w 9143999"/>
                <a:gd name="connsiteY18" fmla="*/ 2235784 h 6061990"/>
                <a:gd name="connsiteX19" fmla="*/ 4570225 w 9143999"/>
                <a:gd name="connsiteY19" fmla="*/ 2371963 h 6061990"/>
                <a:gd name="connsiteX20" fmla="*/ 4325152 w 9143999"/>
                <a:gd name="connsiteY20" fmla="*/ 2470139 h 6061990"/>
                <a:gd name="connsiteX21" fmla="*/ 4094082 w 9143999"/>
                <a:gd name="connsiteY21" fmla="*/ 2536645 h 6061990"/>
                <a:gd name="connsiteX22" fmla="*/ 3670454 w 9143999"/>
                <a:gd name="connsiteY22" fmla="*/ 2634821 h 6061990"/>
                <a:gd name="connsiteX23" fmla="*/ 3292341 w 9143999"/>
                <a:gd name="connsiteY23" fmla="*/ 2713995 h 6061990"/>
                <a:gd name="connsiteX24" fmla="*/ 2966743 w 9143999"/>
                <a:gd name="connsiteY24" fmla="*/ 2796336 h 6061990"/>
                <a:gd name="connsiteX25" fmla="*/ 2711166 w 9143999"/>
                <a:gd name="connsiteY25" fmla="*/ 2888178 h 6061990"/>
                <a:gd name="connsiteX26" fmla="*/ 2550117 w 9143999"/>
                <a:gd name="connsiteY26" fmla="*/ 2986354 h 6061990"/>
                <a:gd name="connsiteX27" fmla="*/ 2466092 w 9143999"/>
                <a:gd name="connsiteY27" fmla="*/ 3087697 h 6061990"/>
                <a:gd name="connsiteX28" fmla="*/ 2420578 w 9143999"/>
                <a:gd name="connsiteY28" fmla="*/ 3217543 h 6061990"/>
                <a:gd name="connsiteX29" fmla="*/ 2410075 w 9143999"/>
                <a:gd name="connsiteY29" fmla="*/ 3296717 h 6061990"/>
                <a:gd name="connsiteX30" fmla="*/ 2445086 w 9143999"/>
                <a:gd name="connsiteY30" fmla="*/ 3470900 h 6061990"/>
                <a:gd name="connsiteX31" fmla="*/ 2529111 w 9143999"/>
                <a:gd name="connsiteY31" fmla="*/ 3575409 h 6061990"/>
                <a:gd name="connsiteX32" fmla="*/ 2886218 w 9143999"/>
                <a:gd name="connsiteY32" fmla="*/ 3828766 h 6061990"/>
                <a:gd name="connsiteX33" fmla="*/ 3414877 w 9143999"/>
                <a:gd name="connsiteY33" fmla="*/ 4075790 h 6061990"/>
                <a:gd name="connsiteX34" fmla="*/ 4034564 w 9143999"/>
                <a:gd name="connsiteY34" fmla="*/ 4294310 h 6061990"/>
                <a:gd name="connsiteX35" fmla="*/ 4706767 w 9143999"/>
                <a:gd name="connsiteY35" fmla="*/ 4487495 h 6061990"/>
                <a:gd name="connsiteX36" fmla="*/ 6128195 w 9143999"/>
                <a:gd name="connsiteY36" fmla="*/ 4810525 h 6061990"/>
                <a:gd name="connsiteX37" fmla="*/ 7609141 w 9143999"/>
                <a:gd name="connsiteY37" fmla="*/ 5070216 h 6061990"/>
                <a:gd name="connsiteX38" fmla="*/ 9118095 w 9143999"/>
                <a:gd name="connsiteY38" fmla="*/ 5285570 h 6061990"/>
                <a:gd name="connsiteX39" fmla="*/ 9143999 w 9143999"/>
                <a:gd name="connsiteY39" fmla="*/ 5288702 h 6061990"/>
                <a:gd name="connsiteX40" fmla="*/ 9143999 w 9143999"/>
                <a:gd name="connsiteY40" fmla="*/ 6061990 h 6061990"/>
                <a:gd name="connsiteX41" fmla="*/ 4752032 w 9143999"/>
                <a:gd name="connsiteY41" fmla="*/ 6061990 h 6061990"/>
                <a:gd name="connsiteX42" fmla="*/ 3828002 w 9143999"/>
                <a:gd name="connsiteY42" fmla="*/ 5760614 h 6061990"/>
                <a:gd name="connsiteX43" fmla="*/ 3071774 w 9143999"/>
                <a:gd name="connsiteY43" fmla="*/ 5475587 h 6061990"/>
                <a:gd name="connsiteX44" fmla="*/ 2329551 w 9143999"/>
                <a:gd name="connsiteY44" fmla="*/ 5136722 h 6061990"/>
                <a:gd name="connsiteX45" fmla="*/ 1615336 w 9143999"/>
                <a:gd name="connsiteY45" fmla="*/ 4712349 h 6061990"/>
                <a:gd name="connsiteX46" fmla="*/ 1282736 w 9143999"/>
                <a:gd name="connsiteY46" fmla="*/ 4446324 h 6061990"/>
                <a:gd name="connsiteX47" fmla="*/ 992148 w 9143999"/>
                <a:gd name="connsiteY47" fmla="*/ 4123294 h 6061990"/>
                <a:gd name="connsiteX48" fmla="*/ 792588 w 9143999"/>
                <a:gd name="connsiteY48" fmla="*/ 3733758 h 6061990"/>
                <a:gd name="connsiteX49" fmla="*/ 761078 w 9143999"/>
                <a:gd name="connsiteY49" fmla="*/ 3296717 h 6061990"/>
                <a:gd name="connsiteX50" fmla="*/ 764579 w 9143999"/>
                <a:gd name="connsiteY50" fmla="*/ 3271381 h 6061990"/>
                <a:gd name="connsiteX51" fmla="*/ 767643 w 9143999"/>
                <a:gd name="connsiteY51" fmla="*/ 3257526 h 6061990"/>
                <a:gd name="connsiteX52" fmla="*/ 771582 w 9143999"/>
                <a:gd name="connsiteY52" fmla="*/ 3242878 h 6061990"/>
                <a:gd name="connsiteX53" fmla="*/ 774645 w 9143999"/>
                <a:gd name="connsiteY53" fmla="*/ 3234565 h 6061990"/>
                <a:gd name="connsiteX54" fmla="*/ 775083 w 9143999"/>
                <a:gd name="connsiteY54" fmla="*/ 3226251 h 6061990"/>
                <a:gd name="connsiteX55" fmla="*/ 775083 w 9143999"/>
                <a:gd name="connsiteY55" fmla="*/ 3223876 h 6061990"/>
                <a:gd name="connsiteX56" fmla="*/ 778146 w 9143999"/>
                <a:gd name="connsiteY56" fmla="*/ 3218334 h 6061990"/>
                <a:gd name="connsiteX57" fmla="*/ 782085 w 9143999"/>
                <a:gd name="connsiteY57" fmla="*/ 3195374 h 6061990"/>
                <a:gd name="connsiteX58" fmla="*/ 813594 w 9143999"/>
                <a:gd name="connsiteY58" fmla="*/ 3106699 h 6061990"/>
                <a:gd name="connsiteX59" fmla="*/ 890617 w 9143999"/>
                <a:gd name="connsiteY59" fmla="*/ 2926182 h 6061990"/>
                <a:gd name="connsiteX60" fmla="*/ 1156698 w 9143999"/>
                <a:gd name="connsiteY60" fmla="*/ 2565148 h 6061990"/>
                <a:gd name="connsiteX61" fmla="*/ 1576824 w 9143999"/>
                <a:gd name="connsiteY61" fmla="*/ 2254786 h 6061990"/>
                <a:gd name="connsiteX62" fmla="*/ 2077475 w 9143999"/>
                <a:gd name="connsiteY62" fmla="*/ 2055267 h 6061990"/>
                <a:gd name="connsiteX63" fmla="*/ 2560620 w 9143999"/>
                <a:gd name="connsiteY63" fmla="*/ 1947590 h 6061990"/>
                <a:gd name="connsiteX64" fmla="*/ 3005254 w 9143999"/>
                <a:gd name="connsiteY64" fmla="*/ 1890585 h 6061990"/>
                <a:gd name="connsiteX65" fmla="*/ 3404374 w 9143999"/>
                <a:gd name="connsiteY65" fmla="*/ 1852581 h 6061990"/>
                <a:gd name="connsiteX66" fmla="*/ 3754480 w 9143999"/>
                <a:gd name="connsiteY66" fmla="*/ 1814578 h 6061990"/>
                <a:gd name="connsiteX67" fmla="*/ 4006556 w 9143999"/>
                <a:gd name="connsiteY67" fmla="*/ 1763907 h 6061990"/>
                <a:gd name="connsiteX68" fmla="*/ 4083579 w 9143999"/>
                <a:gd name="connsiteY68" fmla="*/ 1738571 h 6061990"/>
                <a:gd name="connsiteX69" fmla="*/ 4136095 w 9143999"/>
                <a:gd name="connsiteY69" fmla="*/ 1713235 h 6061990"/>
                <a:gd name="connsiteX70" fmla="*/ 4178107 w 9143999"/>
                <a:gd name="connsiteY70" fmla="*/ 1672065 h 6061990"/>
                <a:gd name="connsiteX71" fmla="*/ 4209617 w 9143999"/>
                <a:gd name="connsiteY71" fmla="*/ 1605558 h 6061990"/>
                <a:gd name="connsiteX72" fmla="*/ 4227122 w 9143999"/>
                <a:gd name="connsiteY72" fmla="*/ 1513716 h 6061990"/>
                <a:gd name="connsiteX73" fmla="*/ 4227122 w 9143999"/>
                <a:gd name="connsiteY73" fmla="*/ 1505403 h 6061990"/>
                <a:gd name="connsiteX74" fmla="*/ 4227122 w 9143999"/>
                <a:gd name="connsiteY74" fmla="*/ 1495902 h 6061990"/>
                <a:gd name="connsiteX75" fmla="*/ 4227122 w 9143999"/>
                <a:gd name="connsiteY75" fmla="*/ 1482047 h 6061990"/>
                <a:gd name="connsiteX76" fmla="*/ 4223621 w 9143999"/>
                <a:gd name="connsiteY76" fmla="*/ 1463045 h 6061990"/>
                <a:gd name="connsiteX77" fmla="*/ 4192112 w 9143999"/>
                <a:gd name="connsiteY77" fmla="*/ 1409207 h 6061990"/>
                <a:gd name="connsiteX78" fmla="*/ 4118589 w 9143999"/>
                <a:gd name="connsiteY78" fmla="*/ 1342700 h 6061990"/>
                <a:gd name="connsiteX79" fmla="*/ 3884019 w 9143999"/>
                <a:gd name="connsiteY79" fmla="*/ 1203354 h 6061990"/>
                <a:gd name="connsiteX80" fmla="*/ 3582928 w 9143999"/>
                <a:gd name="connsiteY80" fmla="*/ 1076675 h 6061990"/>
                <a:gd name="connsiteX81" fmla="*/ 3253829 w 9143999"/>
                <a:gd name="connsiteY81" fmla="*/ 965832 h 6061990"/>
                <a:gd name="connsiteX82" fmla="*/ 2543115 w 9143999"/>
                <a:gd name="connsiteY82" fmla="*/ 772647 h 6061990"/>
                <a:gd name="connsiteX83" fmla="*/ 1041163 w 9143999"/>
                <a:gd name="connsiteY83" fmla="*/ 468619 h 6061990"/>
                <a:gd name="connsiteX84" fmla="*/ 0 w 9143999"/>
                <a:gd name="connsiteY84" fmla="*/ 304674 h 6061990"/>
                <a:gd name="connsiteX85" fmla="*/ 0 w 9143999"/>
                <a:gd name="connsiteY85" fmla="*/ 0 h 6061990"/>
                <a:gd name="connsiteX0" fmla="*/ 0 w 9143999"/>
                <a:gd name="connsiteY0" fmla="*/ 0 h 6061990"/>
                <a:gd name="connsiteX1" fmla="*/ 1153197 w 9143999"/>
                <a:gd name="connsiteY1" fmla="*/ 113919 h 6061990"/>
                <a:gd name="connsiteX2" fmla="*/ 2742675 w 9143999"/>
                <a:gd name="connsiteY2" fmla="*/ 338773 h 6061990"/>
                <a:gd name="connsiteX3" fmla="*/ 3537414 w 9143999"/>
                <a:gd name="connsiteY3" fmla="*/ 500288 h 6061990"/>
                <a:gd name="connsiteX4" fmla="*/ 3933033 w 9143999"/>
                <a:gd name="connsiteY4" fmla="*/ 607965 h 6061990"/>
                <a:gd name="connsiteX5" fmla="*/ 4328653 w 9143999"/>
                <a:gd name="connsiteY5" fmla="*/ 747311 h 6061990"/>
                <a:gd name="connsiteX6" fmla="*/ 4717270 w 9143999"/>
                <a:gd name="connsiteY6" fmla="*/ 940496 h 6061990"/>
                <a:gd name="connsiteX7" fmla="*/ 4902826 w 9143999"/>
                <a:gd name="connsiteY7" fmla="*/ 1079842 h 6061990"/>
                <a:gd name="connsiteX8" fmla="*/ 5053371 w 9143999"/>
                <a:gd name="connsiteY8" fmla="*/ 1260359 h 6061990"/>
                <a:gd name="connsiteX9" fmla="*/ 5102386 w 9143999"/>
                <a:gd name="connsiteY9" fmla="*/ 1371203 h 6061990"/>
                <a:gd name="connsiteX10" fmla="*/ 5116390 w 9143999"/>
                <a:gd name="connsiteY10" fmla="*/ 1428208 h 6061990"/>
                <a:gd name="connsiteX11" fmla="*/ 5116390 w 9143999"/>
                <a:gd name="connsiteY11" fmla="*/ 1434542 h 6061990"/>
                <a:gd name="connsiteX12" fmla="*/ 5119454 w 9143999"/>
                <a:gd name="connsiteY12" fmla="*/ 1440084 h 6061990"/>
                <a:gd name="connsiteX13" fmla="*/ 5119891 w 9143999"/>
                <a:gd name="connsiteY13" fmla="*/ 1446418 h 6061990"/>
                <a:gd name="connsiteX14" fmla="*/ 5126893 w 9143999"/>
                <a:gd name="connsiteY14" fmla="*/ 1472546 h 6061990"/>
                <a:gd name="connsiteX15" fmla="*/ 5144398 w 9143999"/>
                <a:gd name="connsiteY15" fmla="*/ 1646729 h 6061990"/>
                <a:gd name="connsiteX16" fmla="*/ 5112889 w 9143999"/>
                <a:gd name="connsiteY16" fmla="*/ 1843081 h 6061990"/>
                <a:gd name="connsiteX17" fmla="*/ 5000855 w 9143999"/>
                <a:gd name="connsiteY17" fmla="*/ 2048933 h 6061990"/>
                <a:gd name="connsiteX18" fmla="*/ 4808297 w 9143999"/>
                <a:gd name="connsiteY18" fmla="*/ 2235784 h 6061990"/>
                <a:gd name="connsiteX19" fmla="*/ 4570225 w 9143999"/>
                <a:gd name="connsiteY19" fmla="*/ 2371963 h 6061990"/>
                <a:gd name="connsiteX20" fmla="*/ 4325152 w 9143999"/>
                <a:gd name="connsiteY20" fmla="*/ 2470139 h 6061990"/>
                <a:gd name="connsiteX21" fmla="*/ 4094082 w 9143999"/>
                <a:gd name="connsiteY21" fmla="*/ 2536645 h 6061990"/>
                <a:gd name="connsiteX22" fmla="*/ 3670454 w 9143999"/>
                <a:gd name="connsiteY22" fmla="*/ 2634821 h 6061990"/>
                <a:gd name="connsiteX23" fmla="*/ 3292341 w 9143999"/>
                <a:gd name="connsiteY23" fmla="*/ 2713995 h 6061990"/>
                <a:gd name="connsiteX24" fmla="*/ 2966743 w 9143999"/>
                <a:gd name="connsiteY24" fmla="*/ 2796336 h 6061990"/>
                <a:gd name="connsiteX25" fmla="*/ 2711166 w 9143999"/>
                <a:gd name="connsiteY25" fmla="*/ 2888178 h 6061990"/>
                <a:gd name="connsiteX26" fmla="*/ 2550117 w 9143999"/>
                <a:gd name="connsiteY26" fmla="*/ 2986354 h 6061990"/>
                <a:gd name="connsiteX27" fmla="*/ 2466092 w 9143999"/>
                <a:gd name="connsiteY27" fmla="*/ 3087697 h 6061990"/>
                <a:gd name="connsiteX28" fmla="*/ 2420578 w 9143999"/>
                <a:gd name="connsiteY28" fmla="*/ 3217543 h 6061990"/>
                <a:gd name="connsiteX29" fmla="*/ 2445086 w 9143999"/>
                <a:gd name="connsiteY29" fmla="*/ 3470900 h 6061990"/>
                <a:gd name="connsiteX30" fmla="*/ 2529111 w 9143999"/>
                <a:gd name="connsiteY30" fmla="*/ 3575409 h 6061990"/>
                <a:gd name="connsiteX31" fmla="*/ 2886218 w 9143999"/>
                <a:gd name="connsiteY31" fmla="*/ 3828766 h 6061990"/>
                <a:gd name="connsiteX32" fmla="*/ 3414877 w 9143999"/>
                <a:gd name="connsiteY32" fmla="*/ 4075790 h 6061990"/>
                <a:gd name="connsiteX33" fmla="*/ 4034564 w 9143999"/>
                <a:gd name="connsiteY33" fmla="*/ 4294310 h 6061990"/>
                <a:gd name="connsiteX34" fmla="*/ 4706767 w 9143999"/>
                <a:gd name="connsiteY34" fmla="*/ 4487495 h 6061990"/>
                <a:gd name="connsiteX35" fmla="*/ 6128195 w 9143999"/>
                <a:gd name="connsiteY35" fmla="*/ 4810525 h 6061990"/>
                <a:gd name="connsiteX36" fmla="*/ 7609141 w 9143999"/>
                <a:gd name="connsiteY36" fmla="*/ 5070216 h 6061990"/>
                <a:gd name="connsiteX37" fmla="*/ 9118095 w 9143999"/>
                <a:gd name="connsiteY37" fmla="*/ 5285570 h 6061990"/>
                <a:gd name="connsiteX38" fmla="*/ 9143999 w 9143999"/>
                <a:gd name="connsiteY38" fmla="*/ 5288702 h 6061990"/>
                <a:gd name="connsiteX39" fmla="*/ 9143999 w 9143999"/>
                <a:gd name="connsiteY39" fmla="*/ 6061990 h 6061990"/>
                <a:gd name="connsiteX40" fmla="*/ 4752032 w 9143999"/>
                <a:gd name="connsiteY40" fmla="*/ 6061990 h 6061990"/>
                <a:gd name="connsiteX41" fmla="*/ 3828002 w 9143999"/>
                <a:gd name="connsiteY41" fmla="*/ 5760614 h 6061990"/>
                <a:gd name="connsiteX42" fmla="*/ 3071774 w 9143999"/>
                <a:gd name="connsiteY42" fmla="*/ 5475587 h 6061990"/>
                <a:gd name="connsiteX43" fmla="*/ 2329551 w 9143999"/>
                <a:gd name="connsiteY43" fmla="*/ 5136722 h 6061990"/>
                <a:gd name="connsiteX44" fmla="*/ 1615336 w 9143999"/>
                <a:gd name="connsiteY44" fmla="*/ 4712349 h 6061990"/>
                <a:gd name="connsiteX45" fmla="*/ 1282736 w 9143999"/>
                <a:gd name="connsiteY45" fmla="*/ 4446324 h 6061990"/>
                <a:gd name="connsiteX46" fmla="*/ 992148 w 9143999"/>
                <a:gd name="connsiteY46" fmla="*/ 4123294 h 6061990"/>
                <a:gd name="connsiteX47" fmla="*/ 792588 w 9143999"/>
                <a:gd name="connsiteY47" fmla="*/ 3733758 h 6061990"/>
                <a:gd name="connsiteX48" fmla="*/ 761078 w 9143999"/>
                <a:gd name="connsiteY48" fmla="*/ 3296717 h 6061990"/>
                <a:gd name="connsiteX49" fmla="*/ 764579 w 9143999"/>
                <a:gd name="connsiteY49" fmla="*/ 3271381 h 6061990"/>
                <a:gd name="connsiteX50" fmla="*/ 767643 w 9143999"/>
                <a:gd name="connsiteY50" fmla="*/ 3257526 h 6061990"/>
                <a:gd name="connsiteX51" fmla="*/ 771582 w 9143999"/>
                <a:gd name="connsiteY51" fmla="*/ 3242878 h 6061990"/>
                <a:gd name="connsiteX52" fmla="*/ 774645 w 9143999"/>
                <a:gd name="connsiteY52" fmla="*/ 3234565 h 6061990"/>
                <a:gd name="connsiteX53" fmla="*/ 775083 w 9143999"/>
                <a:gd name="connsiteY53" fmla="*/ 3226251 h 6061990"/>
                <a:gd name="connsiteX54" fmla="*/ 775083 w 9143999"/>
                <a:gd name="connsiteY54" fmla="*/ 3223876 h 6061990"/>
                <a:gd name="connsiteX55" fmla="*/ 778146 w 9143999"/>
                <a:gd name="connsiteY55" fmla="*/ 3218334 h 6061990"/>
                <a:gd name="connsiteX56" fmla="*/ 782085 w 9143999"/>
                <a:gd name="connsiteY56" fmla="*/ 3195374 h 6061990"/>
                <a:gd name="connsiteX57" fmla="*/ 813594 w 9143999"/>
                <a:gd name="connsiteY57" fmla="*/ 3106699 h 6061990"/>
                <a:gd name="connsiteX58" fmla="*/ 890617 w 9143999"/>
                <a:gd name="connsiteY58" fmla="*/ 2926182 h 6061990"/>
                <a:gd name="connsiteX59" fmla="*/ 1156698 w 9143999"/>
                <a:gd name="connsiteY59" fmla="*/ 2565148 h 6061990"/>
                <a:gd name="connsiteX60" fmla="*/ 1576824 w 9143999"/>
                <a:gd name="connsiteY60" fmla="*/ 2254786 h 6061990"/>
                <a:gd name="connsiteX61" fmla="*/ 2077475 w 9143999"/>
                <a:gd name="connsiteY61" fmla="*/ 2055267 h 6061990"/>
                <a:gd name="connsiteX62" fmla="*/ 2560620 w 9143999"/>
                <a:gd name="connsiteY62" fmla="*/ 1947590 h 6061990"/>
                <a:gd name="connsiteX63" fmla="*/ 3005254 w 9143999"/>
                <a:gd name="connsiteY63" fmla="*/ 1890585 h 6061990"/>
                <a:gd name="connsiteX64" fmla="*/ 3404374 w 9143999"/>
                <a:gd name="connsiteY64" fmla="*/ 1852581 h 6061990"/>
                <a:gd name="connsiteX65" fmla="*/ 3754480 w 9143999"/>
                <a:gd name="connsiteY65" fmla="*/ 1814578 h 6061990"/>
                <a:gd name="connsiteX66" fmla="*/ 4006556 w 9143999"/>
                <a:gd name="connsiteY66" fmla="*/ 1763907 h 6061990"/>
                <a:gd name="connsiteX67" fmla="*/ 4083579 w 9143999"/>
                <a:gd name="connsiteY67" fmla="*/ 1738571 h 6061990"/>
                <a:gd name="connsiteX68" fmla="*/ 4136095 w 9143999"/>
                <a:gd name="connsiteY68" fmla="*/ 1713235 h 6061990"/>
                <a:gd name="connsiteX69" fmla="*/ 4178107 w 9143999"/>
                <a:gd name="connsiteY69" fmla="*/ 1672065 h 6061990"/>
                <a:gd name="connsiteX70" fmla="*/ 4209617 w 9143999"/>
                <a:gd name="connsiteY70" fmla="*/ 1605558 h 6061990"/>
                <a:gd name="connsiteX71" fmla="*/ 4227122 w 9143999"/>
                <a:gd name="connsiteY71" fmla="*/ 1513716 h 6061990"/>
                <a:gd name="connsiteX72" fmla="*/ 4227122 w 9143999"/>
                <a:gd name="connsiteY72" fmla="*/ 1505403 h 6061990"/>
                <a:gd name="connsiteX73" fmla="*/ 4227122 w 9143999"/>
                <a:gd name="connsiteY73" fmla="*/ 1495902 h 6061990"/>
                <a:gd name="connsiteX74" fmla="*/ 4227122 w 9143999"/>
                <a:gd name="connsiteY74" fmla="*/ 1482047 h 6061990"/>
                <a:gd name="connsiteX75" fmla="*/ 4223621 w 9143999"/>
                <a:gd name="connsiteY75" fmla="*/ 1463045 h 6061990"/>
                <a:gd name="connsiteX76" fmla="*/ 4192112 w 9143999"/>
                <a:gd name="connsiteY76" fmla="*/ 1409207 h 6061990"/>
                <a:gd name="connsiteX77" fmla="*/ 4118589 w 9143999"/>
                <a:gd name="connsiteY77" fmla="*/ 1342700 h 6061990"/>
                <a:gd name="connsiteX78" fmla="*/ 3884019 w 9143999"/>
                <a:gd name="connsiteY78" fmla="*/ 1203354 h 6061990"/>
                <a:gd name="connsiteX79" fmla="*/ 3582928 w 9143999"/>
                <a:gd name="connsiteY79" fmla="*/ 1076675 h 6061990"/>
                <a:gd name="connsiteX80" fmla="*/ 3253829 w 9143999"/>
                <a:gd name="connsiteY80" fmla="*/ 965832 h 6061990"/>
                <a:gd name="connsiteX81" fmla="*/ 2543115 w 9143999"/>
                <a:gd name="connsiteY81" fmla="*/ 772647 h 6061990"/>
                <a:gd name="connsiteX82" fmla="*/ 1041163 w 9143999"/>
                <a:gd name="connsiteY82" fmla="*/ 468619 h 6061990"/>
                <a:gd name="connsiteX83" fmla="*/ 0 w 9143999"/>
                <a:gd name="connsiteY83" fmla="*/ 304674 h 6061990"/>
                <a:gd name="connsiteX84" fmla="*/ 0 w 9143999"/>
                <a:gd name="connsiteY84" fmla="*/ 0 h 6061990"/>
                <a:gd name="connsiteX0" fmla="*/ 0 w 9143999"/>
                <a:gd name="connsiteY0" fmla="*/ 0 h 6061990"/>
                <a:gd name="connsiteX1" fmla="*/ 1153197 w 9143999"/>
                <a:gd name="connsiteY1" fmla="*/ 113919 h 6061990"/>
                <a:gd name="connsiteX2" fmla="*/ 2742675 w 9143999"/>
                <a:gd name="connsiteY2" fmla="*/ 338773 h 6061990"/>
                <a:gd name="connsiteX3" fmla="*/ 3537414 w 9143999"/>
                <a:gd name="connsiteY3" fmla="*/ 500288 h 6061990"/>
                <a:gd name="connsiteX4" fmla="*/ 3933033 w 9143999"/>
                <a:gd name="connsiteY4" fmla="*/ 607965 h 6061990"/>
                <a:gd name="connsiteX5" fmla="*/ 4328653 w 9143999"/>
                <a:gd name="connsiteY5" fmla="*/ 747311 h 6061990"/>
                <a:gd name="connsiteX6" fmla="*/ 4717270 w 9143999"/>
                <a:gd name="connsiteY6" fmla="*/ 940496 h 6061990"/>
                <a:gd name="connsiteX7" fmla="*/ 4902826 w 9143999"/>
                <a:gd name="connsiteY7" fmla="*/ 1079842 h 6061990"/>
                <a:gd name="connsiteX8" fmla="*/ 5053371 w 9143999"/>
                <a:gd name="connsiteY8" fmla="*/ 1260359 h 6061990"/>
                <a:gd name="connsiteX9" fmla="*/ 5102386 w 9143999"/>
                <a:gd name="connsiteY9" fmla="*/ 1371203 h 6061990"/>
                <a:gd name="connsiteX10" fmla="*/ 5116390 w 9143999"/>
                <a:gd name="connsiteY10" fmla="*/ 1428208 h 6061990"/>
                <a:gd name="connsiteX11" fmla="*/ 5116390 w 9143999"/>
                <a:gd name="connsiteY11" fmla="*/ 1434542 h 6061990"/>
                <a:gd name="connsiteX12" fmla="*/ 5119454 w 9143999"/>
                <a:gd name="connsiteY12" fmla="*/ 1440084 h 6061990"/>
                <a:gd name="connsiteX13" fmla="*/ 5119891 w 9143999"/>
                <a:gd name="connsiteY13" fmla="*/ 1446418 h 6061990"/>
                <a:gd name="connsiteX14" fmla="*/ 5126893 w 9143999"/>
                <a:gd name="connsiteY14" fmla="*/ 1472546 h 6061990"/>
                <a:gd name="connsiteX15" fmla="*/ 5144398 w 9143999"/>
                <a:gd name="connsiteY15" fmla="*/ 1646729 h 6061990"/>
                <a:gd name="connsiteX16" fmla="*/ 5112889 w 9143999"/>
                <a:gd name="connsiteY16" fmla="*/ 1843081 h 6061990"/>
                <a:gd name="connsiteX17" fmla="*/ 5000855 w 9143999"/>
                <a:gd name="connsiteY17" fmla="*/ 2048933 h 6061990"/>
                <a:gd name="connsiteX18" fmla="*/ 4808297 w 9143999"/>
                <a:gd name="connsiteY18" fmla="*/ 2235784 h 6061990"/>
                <a:gd name="connsiteX19" fmla="*/ 4570225 w 9143999"/>
                <a:gd name="connsiteY19" fmla="*/ 2371963 h 6061990"/>
                <a:gd name="connsiteX20" fmla="*/ 4325152 w 9143999"/>
                <a:gd name="connsiteY20" fmla="*/ 2470139 h 6061990"/>
                <a:gd name="connsiteX21" fmla="*/ 4094082 w 9143999"/>
                <a:gd name="connsiteY21" fmla="*/ 2536645 h 6061990"/>
                <a:gd name="connsiteX22" fmla="*/ 3670454 w 9143999"/>
                <a:gd name="connsiteY22" fmla="*/ 2634821 h 6061990"/>
                <a:gd name="connsiteX23" fmla="*/ 3292341 w 9143999"/>
                <a:gd name="connsiteY23" fmla="*/ 2713995 h 6061990"/>
                <a:gd name="connsiteX24" fmla="*/ 2966743 w 9143999"/>
                <a:gd name="connsiteY24" fmla="*/ 2796336 h 6061990"/>
                <a:gd name="connsiteX25" fmla="*/ 2711166 w 9143999"/>
                <a:gd name="connsiteY25" fmla="*/ 2888178 h 6061990"/>
                <a:gd name="connsiteX26" fmla="*/ 2550117 w 9143999"/>
                <a:gd name="connsiteY26" fmla="*/ 2986354 h 6061990"/>
                <a:gd name="connsiteX27" fmla="*/ 2466092 w 9143999"/>
                <a:gd name="connsiteY27" fmla="*/ 3087697 h 6061990"/>
                <a:gd name="connsiteX28" fmla="*/ 2420578 w 9143999"/>
                <a:gd name="connsiteY28" fmla="*/ 3217543 h 6061990"/>
                <a:gd name="connsiteX29" fmla="*/ 2445086 w 9143999"/>
                <a:gd name="connsiteY29" fmla="*/ 3470900 h 6061990"/>
                <a:gd name="connsiteX30" fmla="*/ 2529111 w 9143999"/>
                <a:gd name="connsiteY30" fmla="*/ 3575409 h 6061990"/>
                <a:gd name="connsiteX31" fmla="*/ 2886218 w 9143999"/>
                <a:gd name="connsiteY31" fmla="*/ 3828766 h 6061990"/>
                <a:gd name="connsiteX32" fmla="*/ 3414877 w 9143999"/>
                <a:gd name="connsiteY32" fmla="*/ 4075790 h 6061990"/>
                <a:gd name="connsiteX33" fmla="*/ 4034564 w 9143999"/>
                <a:gd name="connsiteY33" fmla="*/ 4294310 h 6061990"/>
                <a:gd name="connsiteX34" fmla="*/ 4706767 w 9143999"/>
                <a:gd name="connsiteY34" fmla="*/ 4487495 h 6061990"/>
                <a:gd name="connsiteX35" fmla="*/ 6128195 w 9143999"/>
                <a:gd name="connsiteY35" fmla="*/ 4810525 h 6061990"/>
                <a:gd name="connsiteX36" fmla="*/ 7609141 w 9143999"/>
                <a:gd name="connsiteY36" fmla="*/ 5070216 h 6061990"/>
                <a:gd name="connsiteX37" fmla="*/ 9118095 w 9143999"/>
                <a:gd name="connsiteY37" fmla="*/ 5285570 h 6061990"/>
                <a:gd name="connsiteX38" fmla="*/ 9143999 w 9143999"/>
                <a:gd name="connsiteY38" fmla="*/ 5288702 h 6061990"/>
                <a:gd name="connsiteX39" fmla="*/ 9143999 w 9143999"/>
                <a:gd name="connsiteY39" fmla="*/ 6061990 h 6061990"/>
                <a:gd name="connsiteX40" fmla="*/ 4752032 w 9143999"/>
                <a:gd name="connsiteY40" fmla="*/ 6061990 h 6061990"/>
                <a:gd name="connsiteX41" fmla="*/ 3828002 w 9143999"/>
                <a:gd name="connsiteY41" fmla="*/ 5760614 h 6061990"/>
                <a:gd name="connsiteX42" fmla="*/ 3071774 w 9143999"/>
                <a:gd name="connsiteY42" fmla="*/ 5475587 h 6061990"/>
                <a:gd name="connsiteX43" fmla="*/ 2329551 w 9143999"/>
                <a:gd name="connsiteY43" fmla="*/ 5136722 h 6061990"/>
                <a:gd name="connsiteX44" fmla="*/ 1615336 w 9143999"/>
                <a:gd name="connsiteY44" fmla="*/ 4712349 h 6061990"/>
                <a:gd name="connsiteX45" fmla="*/ 1282736 w 9143999"/>
                <a:gd name="connsiteY45" fmla="*/ 4446324 h 6061990"/>
                <a:gd name="connsiteX46" fmla="*/ 992148 w 9143999"/>
                <a:gd name="connsiteY46" fmla="*/ 4123294 h 6061990"/>
                <a:gd name="connsiteX47" fmla="*/ 792588 w 9143999"/>
                <a:gd name="connsiteY47" fmla="*/ 3733758 h 6061990"/>
                <a:gd name="connsiteX48" fmla="*/ 761078 w 9143999"/>
                <a:gd name="connsiteY48" fmla="*/ 3296717 h 6061990"/>
                <a:gd name="connsiteX49" fmla="*/ 764579 w 9143999"/>
                <a:gd name="connsiteY49" fmla="*/ 3271381 h 6061990"/>
                <a:gd name="connsiteX50" fmla="*/ 767643 w 9143999"/>
                <a:gd name="connsiteY50" fmla="*/ 3257526 h 6061990"/>
                <a:gd name="connsiteX51" fmla="*/ 771582 w 9143999"/>
                <a:gd name="connsiteY51" fmla="*/ 3242878 h 6061990"/>
                <a:gd name="connsiteX52" fmla="*/ 774645 w 9143999"/>
                <a:gd name="connsiteY52" fmla="*/ 3234565 h 6061990"/>
                <a:gd name="connsiteX53" fmla="*/ 775083 w 9143999"/>
                <a:gd name="connsiteY53" fmla="*/ 3226251 h 6061990"/>
                <a:gd name="connsiteX54" fmla="*/ 775083 w 9143999"/>
                <a:gd name="connsiteY54" fmla="*/ 3223876 h 6061990"/>
                <a:gd name="connsiteX55" fmla="*/ 778146 w 9143999"/>
                <a:gd name="connsiteY55" fmla="*/ 3218334 h 6061990"/>
                <a:gd name="connsiteX56" fmla="*/ 782085 w 9143999"/>
                <a:gd name="connsiteY56" fmla="*/ 3195374 h 6061990"/>
                <a:gd name="connsiteX57" fmla="*/ 813594 w 9143999"/>
                <a:gd name="connsiteY57" fmla="*/ 3106699 h 6061990"/>
                <a:gd name="connsiteX58" fmla="*/ 890617 w 9143999"/>
                <a:gd name="connsiteY58" fmla="*/ 2926182 h 6061990"/>
                <a:gd name="connsiteX59" fmla="*/ 1156698 w 9143999"/>
                <a:gd name="connsiteY59" fmla="*/ 2565148 h 6061990"/>
                <a:gd name="connsiteX60" fmla="*/ 1576824 w 9143999"/>
                <a:gd name="connsiteY60" fmla="*/ 2254786 h 6061990"/>
                <a:gd name="connsiteX61" fmla="*/ 2077475 w 9143999"/>
                <a:gd name="connsiteY61" fmla="*/ 2055267 h 6061990"/>
                <a:gd name="connsiteX62" fmla="*/ 2560620 w 9143999"/>
                <a:gd name="connsiteY62" fmla="*/ 1947590 h 6061990"/>
                <a:gd name="connsiteX63" fmla="*/ 3005254 w 9143999"/>
                <a:gd name="connsiteY63" fmla="*/ 1890585 h 6061990"/>
                <a:gd name="connsiteX64" fmla="*/ 3404374 w 9143999"/>
                <a:gd name="connsiteY64" fmla="*/ 1852581 h 6061990"/>
                <a:gd name="connsiteX65" fmla="*/ 3754480 w 9143999"/>
                <a:gd name="connsiteY65" fmla="*/ 1814578 h 6061990"/>
                <a:gd name="connsiteX66" fmla="*/ 4006556 w 9143999"/>
                <a:gd name="connsiteY66" fmla="*/ 1763907 h 6061990"/>
                <a:gd name="connsiteX67" fmla="*/ 4083579 w 9143999"/>
                <a:gd name="connsiteY67" fmla="*/ 1738571 h 6061990"/>
                <a:gd name="connsiteX68" fmla="*/ 4136095 w 9143999"/>
                <a:gd name="connsiteY68" fmla="*/ 1713235 h 6061990"/>
                <a:gd name="connsiteX69" fmla="*/ 4178107 w 9143999"/>
                <a:gd name="connsiteY69" fmla="*/ 1672065 h 6061990"/>
                <a:gd name="connsiteX70" fmla="*/ 4209617 w 9143999"/>
                <a:gd name="connsiteY70" fmla="*/ 1605558 h 6061990"/>
                <a:gd name="connsiteX71" fmla="*/ 4227122 w 9143999"/>
                <a:gd name="connsiteY71" fmla="*/ 1513716 h 6061990"/>
                <a:gd name="connsiteX72" fmla="*/ 4227122 w 9143999"/>
                <a:gd name="connsiteY72" fmla="*/ 1505403 h 6061990"/>
                <a:gd name="connsiteX73" fmla="*/ 4227122 w 9143999"/>
                <a:gd name="connsiteY73" fmla="*/ 1495902 h 6061990"/>
                <a:gd name="connsiteX74" fmla="*/ 4227122 w 9143999"/>
                <a:gd name="connsiteY74" fmla="*/ 1482047 h 6061990"/>
                <a:gd name="connsiteX75" fmla="*/ 4223621 w 9143999"/>
                <a:gd name="connsiteY75" fmla="*/ 1463045 h 6061990"/>
                <a:gd name="connsiteX76" fmla="*/ 4192112 w 9143999"/>
                <a:gd name="connsiteY76" fmla="*/ 1409207 h 6061990"/>
                <a:gd name="connsiteX77" fmla="*/ 4118589 w 9143999"/>
                <a:gd name="connsiteY77" fmla="*/ 1342700 h 6061990"/>
                <a:gd name="connsiteX78" fmla="*/ 3884019 w 9143999"/>
                <a:gd name="connsiteY78" fmla="*/ 1203354 h 6061990"/>
                <a:gd name="connsiteX79" fmla="*/ 3582928 w 9143999"/>
                <a:gd name="connsiteY79" fmla="*/ 1076675 h 6061990"/>
                <a:gd name="connsiteX80" fmla="*/ 3253829 w 9143999"/>
                <a:gd name="connsiteY80" fmla="*/ 965832 h 6061990"/>
                <a:gd name="connsiteX81" fmla="*/ 2543115 w 9143999"/>
                <a:gd name="connsiteY81" fmla="*/ 772647 h 6061990"/>
                <a:gd name="connsiteX82" fmla="*/ 1041163 w 9143999"/>
                <a:gd name="connsiteY82" fmla="*/ 468619 h 6061990"/>
                <a:gd name="connsiteX83" fmla="*/ 0 w 9143999"/>
                <a:gd name="connsiteY83" fmla="*/ 304674 h 6061990"/>
                <a:gd name="connsiteX84" fmla="*/ 0 w 9143999"/>
                <a:gd name="connsiteY84" fmla="*/ 0 h 6061990"/>
                <a:gd name="connsiteX0" fmla="*/ 0 w 9143999"/>
                <a:gd name="connsiteY0" fmla="*/ 0 h 6061990"/>
                <a:gd name="connsiteX1" fmla="*/ 1153197 w 9143999"/>
                <a:gd name="connsiteY1" fmla="*/ 113919 h 6061990"/>
                <a:gd name="connsiteX2" fmla="*/ 2742675 w 9143999"/>
                <a:gd name="connsiteY2" fmla="*/ 338773 h 6061990"/>
                <a:gd name="connsiteX3" fmla="*/ 3537414 w 9143999"/>
                <a:gd name="connsiteY3" fmla="*/ 500288 h 6061990"/>
                <a:gd name="connsiteX4" fmla="*/ 3933033 w 9143999"/>
                <a:gd name="connsiteY4" fmla="*/ 607965 h 6061990"/>
                <a:gd name="connsiteX5" fmla="*/ 4328653 w 9143999"/>
                <a:gd name="connsiteY5" fmla="*/ 747311 h 6061990"/>
                <a:gd name="connsiteX6" fmla="*/ 4717270 w 9143999"/>
                <a:gd name="connsiteY6" fmla="*/ 940496 h 6061990"/>
                <a:gd name="connsiteX7" fmla="*/ 4902826 w 9143999"/>
                <a:gd name="connsiteY7" fmla="*/ 1079842 h 6061990"/>
                <a:gd name="connsiteX8" fmla="*/ 5053371 w 9143999"/>
                <a:gd name="connsiteY8" fmla="*/ 1260359 h 6061990"/>
                <a:gd name="connsiteX9" fmla="*/ 5102386 w 9143999"/>
                <a:gd name="connsiteY9" fmla="*/ 1371203 h 6061990"/>
                <a:gd name="connsiteX10" fmla="*/ 5116390 w 9143999"/>
                <a:gd name="connsiteY10" fmla="*/ 1428208 h 6061990"/>
                <a:gd name="connsiteX11" fmla="*/ 5116390 w 9143999"/>
                <a:gd name="connsiteY11" fmla="*/ 1434542 h 6061990"/>
                <a:gd name="connsiteX12" fmla="*/ 5119454 w 9143999"/>
                <a:gd name="connsiteY12" fmla="*/ 1440084 h 6061990"/>
                <a:gd name="connsiteX13" fmla="*/ 5119891 w 9143999"/>
                <a:gd name="connsiteY13" fmla="*/ 1446418 h 6061990"/>
                <a:gd name="connsiteX14" fmla="*/ 5126893 w 9143999"/>
                <a:gd name="connsiteY14" fmla="*/ 1472546 h 6061990"/>
                <a:gd name="connsiteX15" fmla="*/ 5144398 w 9143999"/>
                <a:gd name="connsiteY15" fmla="*/ 1646729 h 6061990"/>
                <a:gd name="connsiteX16" fmla="*/ 5112889 w 9143999"/>
                <a:gd name="connsiteY16" fmla="*/ 1843081 h 6061990"/>
                <a:gd name="connsiteX17" fmla="*/ 5000855 w 9143999"/>
                <a:gd name="connsiteY17" fmla="*/ 2048933 h 6061990"/>
                <a:gd name="connsiteX18" fmla="*/ 4808297 w 9143999"/>
                <a:gd name="connsiteY18" fmla="*/ 2235784 h 6061990"/>
                <a:gd name="connsiteX19" fmla="*/ 4570225 w 9143999"/>
                <a:gd name="connsiteY19" fmla="*/ 2371963 h 6061990"/>
                <a:gd name="connsiteX20" fmla="*/ 4325152 w 9143999"/>
                <a:gd name="connsiteY20" fmla="*/ 2470139 h 6061990"/>
                <a:gd name="connsiteX21" fmla="*/ 4094082 w 9143999"/>
                <a:gd name="connsiteY21" fmla="*/ 2536645 h 6061990"/>
                <a:gd name="connsiteX22" fmla="*/ 3670454 w 9143999"/>
                <a:gd name="connsiteY22" fmla="*/ 2634821 h 6061990"/>
                <a:gd name="connsiteX23" fmla="*/ 3292341 w 9143999"/>
                <a:gd name="connsiteY23" fmla="*/ 2713995 h 6061990"/>
                <a:gd name="connsiteX24" fmla="*/ 2966743 w 9143999"/>
                <a:gd name="connsiteY24" fmla="*/ 2796336 h 6061990"/>
                <a:gd name="connsiteX25" fmla="*/ 2711166 w 9143999"/>
                <a:gd name="connsiteY25" fmla="*/ 2888178 h 6061990"/>
                <a:gd name="connsiteX26" fmla="*/ 2550117 w 9143999"/>
                <a:gd name="connsiteY26" fmla="*/ 2986354 h 6061990"/>
                <a:gd name="connsiteX27" fmla="*/ 2466092 w 9143999"/>
                <a:gd name="connsiteY27" fmla="*/ 3087697 h 6061990"/>
                <a:gd name="connsiteX28" fmla="*/ 2420578 w 9143999"/>
                <a:gd name="connsiteY28" fmla="*/ 3217543 h 6061990"/>
                <a:gd name="connsiteX29" fmla="*/ 2445086 w 9143999"/>
                <a:gd name="connsiteY29" fmla="*/ 3470900 h 6061990"/>
                <a:gd name="connsiteX30" fmla="*/ 2529111 w 9143999"/>
                <a:gd name="connsiteY30" fmla="*/ 3575409 h 6061990"/>
                <a:gd name="connsiteX31" fmla="*/ 2886218 w 9143999"/>
                <a:gd name="connsiteY31" fmla="*/ 3828766 h 6061990"/>
                <a:gd name="connsiteX32" fmla="*/ 3414877 w 9143999"/>
                <a:gd name="connsiteY32" fmla="*/ 4075790 h 6061990"/>
                <a:gd name="connsiteX33" fmla="*/ 4034564 w 9143999"/>
                <a:gd name="connsiteY33" fmla="*/ 4294310 h 6061990"/>
                <a:gd name="connsiteX34" fmla="*/ 4706767 w 9143999"/>
                <a:gd name="connsiteY34" fmla="*/ 4487495 h 6061990"/>
                <a:gd name="connsiteX35" fmla="*/ 6128195 w 9143999"/>
                <a:gd name="connsiteY35" fmla="*/ 4810525 h 6061990"/>
                <a:gd name="connsiteX36" fmla="*/ 7609141 w 9143999"/>
                <a:gd name="connsiteY36" fmla="*/ 5070216 h 6061990"/>
                <a:gd name="connsiteX37" fmla="*/ 9118095 w 9143999"/>
                <a:gd name="connsiteY37" fmla="*/ 5285570 h 6061990"/>
                <a:gd name="connsiteX38" fmla="*/ 9143999 w 9143999"/>
                <a:gd name="connsiteY38" fmla="*/ 5288702 h 6061990"/>
                <a:gd name="connsiteX39" fmla="*/ 9143999 w 9143999"/>
                <a:gd name="connsiteY39" fmla="*/ 6061990 h 6061990"/>
                <a:gd name="connsiteX40" fmla="*/ 4752032 w 9143999"/>
                <a:gd name="connsiteY40" fmla="*/ 6061990 h 6061990"/>
                <a:gd name="connsiteX41" fmla="*/ 3828002 w 9143999"/>
                <a:gd name="connsiteY41" fmla="*/ 5760614 h 6061990"/>
                <a:gd name="connsiteX42" fmla="*/ 3071774 w 9143999"/>
                <a:gd name="connsiteY42" fmla="*/ 5475587 h 6061990"/>
                <a:gd name="connsiteX43" fmla="*/ 2329551 w 9143999"/>
                <a:gd name="connsiteY43" fmla="*/ 5136722 h 6061990"/>
                <a:gd name="connsiteX44" fmla="*/ 1615336 w 9143999"/>
                <a:gd name="connsiteY44" fmla="*/ 4712349 h 6061990"/>
                <a:gd name="connsiteX45" fmla="*/ 1282736 w 9143999"/>
                <a:gd name="connsiteY45" fmla="*/ 4446324 h 6061990"/>
                <a:gd name="connsiteX46" fmla="*/ 992148 w 9143999"/>
                <a:gd name="connsiteY46" fmla="*/ 4123294 h 6061990"/>
                <a:gd name="connsiteX47" fmla="*/ 792588 w 9143999"/>
                <a:gd name="connsiteY47" fmla="*/ 3733758 h 6061990"/>
                <a:gd name="connsiteX48" fmla="*/ 761078 w 9143999"/>
                <a:gd name="connsiteY48" fmla="*/ 3296717 h 6061990"/>
                <a:gd name="connsiteX49" fmla="*/ 764579 w 9143999"/>
                <a:gd name="connsiteY49" fmla="*/ 3271381 h 6061990"/>
                <a:gd name="connsiteX50" fmla="*/ 767643 w 9143999"/>
                <a:gd name="connsiteY50" fmla="*/ 3257526 h 6061990"/>
                <a:gd name="connsiteX51" fmla="*/ 771582 w 9143999"/>
                <a:gd name="connsiteY51" fmla="*/ 3242878 h 6061990"/>
                <a:gd name="connsiteX52" fmla="*/ 774645 w 9143999"/>
                <a:gd name="connsiteY52" fmla="*/ 3234565 h 6061990"/>
                <a:gd name="connsiteX53" fmla="*/ 775083 w 9143999"/>
                <a:gd name="connsiteY53" fmla="*/ 3226251 h 6061990"/>
                <a:gd name="connsiteX54" fmla="*/ 775083 w 9143999"/>
                <a:gd name="connsiteY54" fmla="*/ 3223876 h 6061990"/>
                <a:gd name="connsiteX55" fmla="*/ 778146 w 9143999"/>
                <a:gd name="connsiteY55" fmla="*/ 3218334 h 6061990"/>
                <a:gd name="connsiteX56" fmla="*/ 782085 w 9143999"/>
                <a:gd name="connsiteY56" fmla="*/ 3195374 h 6061990"/>
                <a:gd name="connsiteX57" fmla="*/ 813594 w 9143999"/>
                <a:gd name="connsiteY57" fmla="*/ 3106699 h 6061990"/>
                <a:gd name="connsiteX58" fmla="*/ 890617 w 9143999"/>
                <a:gd name="connsiteY58" fmla="*/ 2926182 h 6061990"/>
                <a:gd name="connsiteX59" fmla="*/ 1156698 w 9143999"/>
                <a:gd name="connsiteY59" fmla="*/ 2565148 h 6061990"/>
                <a:gd name="connsiteX60" fmla="*/ 1576824 w 9143999"/>
                <a:gd name="connsiteY60" fmla="*/ 2254786 h 6061990"/>
                <a:gd name="connsiteX61" fmla="*/ 2077475 w 9143999"/>
                <a:gd name="connsiteY61" fmla="*/ 2055267 h 6061990"/>
                <a:gd name="connsiteX62" fmla="*/ 2560620 w 9143999"/>
                <a:gd name="connsiteY62" fmla="*/ 1947590 h 6061990"/>
                <a:gd name="connsiteX63" fmla="*/ 3005254 w 9143999"/>
                <a:gd name="connsiteY63" fmla="*/ 1890585 h 6061990"/>
                <a:gd name="connsiteX64" fmla="*/ 3404374 w 9143999"/>
                <a:gd name="connsiteY64" fmla="*/ 1852581 h 6061990"/>
                <a:gd name="connsiteX65" fmla="*/ 3754480 w 9143999"/>
                <a:gd name="connsiteY65" fmla="*/ 1814578 h 6061990"/>
                <a:gd name="connsiteX66" fmla="*/ 4006556 w 9143999"/>
                <a:gd name="connsiteY66" fmla="*/ 1763907 h 6061990"/>
                <a:gd name="connsiteX67" fmla="*/ 4083579 w 9143999"/>
                <a:gd name="connsiteY67" fmla="*/ 1738571 h 6061990"/>
                <a:gd name="connsiteX68" fmla="*/ 4136095 w 9143999"/>
                <a:gd name="connsiteY68" fmla="*/ 1713235 h 6061990"/>
                <a:gd name="connsiteX69" fmla="*/ 4178107 w 9143999"/>
                <a:gd name="connsiteY69" fmla="*/ 1672065 h 6061990"/>
                <a:gd name="connsiteX70" fmla="*/ 4209617 w 9143999"/>
                <a:gd name="connsiteY70" fmla="*/ 1605558 h 6061990"/>
                <a:gd name="connsiteX71" fmla="*/ 4227122 w 9143999"/>
                <a:gd name="connsiteY71" fmla="*/ 1513716 h 6061990"/>
                <a:gd name="connsiteX72" fmla="*/ 4227122 w 9143999"/>
                <a:gd name="connsiteY72" fmla="*/ 1505403 h 6061990"/>
                <a:gd name="connsiteX73" fmla="*/ 4227122 w 9143999"/>
                <a:gd name="connsiteY73" fmla="*/ 1495902 h 6061990"/>
                <a:gd name="connsiteX74" fmla="*/ 4227122 w 9143999"/>
                <a:gd name="connsiteY74" fmla="*/ 1482047 h 6061990"/>
                <a:gd name="connsiteX75" fmla="*/ 4223621 w 9143999"/>
                <a:gd name="connsiteY75" fmla="*/ 1463045 h 6061990"/>
                <a:gd name="connsiteX76" fmla="*/ 4192112 w 9143999"/>
                <a:gd name="connsiteY76" fmla="*/ 1409207 h 6061990"/>
                <a:gd name="connsiteX77" fmla="*/ 4118589 w 9143999"/>
                <a:gd name="connsiteY77" fmla="*/ 1342700 h 6061990"/>
                <a:gd name="connsiteX78" fmla="*/ 3884019 w 9143999"/>
                <a:gd name="connsiteY78" fmla="*/ 1203354 h 6061990"/>
                <a:gd name="connsiteX79" fmla="*/ 3582928 w 9143999"/>
                <a:gd name="connsiteY79" fmla="*/ 1076675 h 6061990"/>
                <a:gd name="connsiteX80" fmla="*/ 3253829 w 9143999"/>
                <a:gd name="connsiteY80" fmla="*/ 965832 h 6061990"/>
                <a:gd name="connsiteX81" fmla="*/ 2543115 w 9143999"/>
                <a:gd name="connsiteY81" fmla="*/ 772647 h 6061990"/>
                <a:gd name="connsiteX82" fmla="*/ 1041163 w 9143999"/>
                <a:gd name="connsiteY82" fmla="*/ 468619 h 6061990"/>
                <a:gd name="connsiteX83" fmla="*/ 0 w 9143999"/>
                <a:gd name="connsiteY83" fmla="*/ 304674 h 6061990"/>
                <a:gd name="connsiteX84" fmla="*/ 0 w 9143999"/>
                <a:gd name="connsiteY84" fmla="*/ 0 h 6061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9143999" h="6061990">
                  <a:moveTo>
                    <a:pt x="0" y="0"/>
                  </a:moveTo>
                  <a:cubicBezTo>
                    <a:pt x="383616" y="31868"/>
                    <a:pt x="768406" y="70410"/>
                    <a:pt x="1153197" y="113919"/>
                  </a:cubicBezTo>
                  <a:cubicBezTo>
                    <a:pt x="1681856" y="174091"/>
                    <a:pt x="2214016" y="243764"/>
                    <a:pt x="2742675" y="338773"/>
                  </a:cubicBezTo>
                  <a:cubicBezTo>
                    <a:pt x="3008755" y="383110"/>
                    <a:pt x="3271334" y="436949"/>
                    <a:pt x="3537414" y="500288"/>
                  </a:cubicBezTo>
                  <a:lnTo>
                    <a:pt x="3933033" y="607965"/>
                  </a:lnTo>
                  <a:cubicBezTo>
                    <a:pt x="4062572" y="649135"/>
                    <a:pt x="4195613" y="693473"/>
                    <a:pt x="4328653" y="747311"/>
                  </a:cubicBezTo>
                  <a:cubicBezTo>
                    <a:pt x="4458192" y="797983"/>
                    <a:pt x="4591232" y="861322"/>
                    <a:pt x="4717270" y="940496"/>
                  </a:cubicBezTo>
                  <a:cubicBezTo>
                    <a:pt x="4780289" y="981667"/>
                    <a:pt x="4843308" y="1026004"/>
                    <a:pt x="4902826" y="1079842"/>
                  </a:cubicBezTo>
                  <a:cubicBezTo>
                    <a:pt x="4958842" y="1130514"/>
                    <a:pt x="5011358" y="1190686"/>
                    <a:pt x="5053371" y="1260359"/>
                  </a:cubicBezTo>
                  <a:cubicBezTo>
                    <a:pt x="5074377" y="1295196"/>
                    <a:pt x="5088381" y="1333200"/>
                    <a:pt x="5102386" y="1371203"/>
                  </a:cubicBezTo>
                  <a:cubicBezTo>
                    <a:pt x="5109388" y="1390205"/>
                    <a:pt x="5112889" y="1409207"/>
                    <a:pt x="5116390" y="1428208"/>
                  </a:cubicBezTo>
                  <a:lnTo>
                    <a:pt x="5116390" y="1434542"/>
                  </a:lnTo>
                  <a:lnTo>
                    <a:pt x="5119454" y="1440084"/>
                  </a:lnTo>
                  <a:cubicBezTo>
                    <a:pt x="5119600" y="1442195"/>
                    <a:pt x="5119745" y="1444307"/>
                    <a:pt x="5119891" y="1446418"/>
                  </a:cubicBezTo>
                  <a:lnTo>
                    <a:pt x="5126893" y="1472546"/>
                  </a:lnTo>
                  <a:cubicBezTo>
                    <a:pt x="5137396" y="1526384"/>
                    <a:pt x="5144398" y="1586557"/>
                    <a:pt x="5144398" y="1646729"/>
                  </a:cubicBezTo>
                  <a:cubicBezTo>
                    <a:pt x="5140897" y="1710068"/>
                    <a:pt x="5133895" y="1776574"/>
                    <a:pt x="5112889" y="1843081"/>
                  </a:cubicBezTo>
                  <a:cubicBezTo>
                    <a:pt x="5088381" y="1912754"/>
                    <a:pt x="5053371" y="1982427"/>
                    <a:pt x="5000855" y="2048933"/>
                  </a:cubicBezTo>
                  <a:cubicBezTo>
                    <a:pt x="4948339" y="2118606"/>
                    <a:pt x="4881819" y="2181946"/>
                    <a:pt x="4808297" y="2235784"/>
                  </a:cubicBezTo>
                  <a:cubicBezTo>
                    <a:pt x="4731274" y="2289622"/>
                    <a:pt x="4650750" y="2333960"/>
                    <a:pt x="4570225" y="2371963"/>
                  </a:cubicBezTo>
                  <a:cubicBezTo>
                    <a:pt x="4486200" y="2409967"/>
                    <a:pt x="4405676" y="2441637"/>
                    <a:pt x="4325152" y="2470139"/>
                  </a:cubicBezTo>
                  <a:cubicBezTo>
                    <a:pt x="4248128" y="2495475"/>
                    <a:pt x="4171105" y="2517644"/>
                    <a:pt x="4094082" y="2536645"/>
                  </a:cubicBezTo>
                  <a:cubicBezTo>
                    <a:pt x="3943537" y="2577816"/>
                    <a:pt x="3803494" y="2606319"/>
                    <a:pt x="3670454" y="2634821"/>
                  </a:cubicBezTo>
                  <a:lnTo>
                    <a:pt x="3292341" y="2713995"/>
                  </a:lnTo>
                  <a:cubicBezTo>
                    <a:pt x="3173305" y="2739331"/>
                    <a:pt x="3064772" y="2767834"/>
                    <a:pt x="2966743" y="2796336"/>
                  </a:cubicBezTo>
                  <a:cubicBezTo>
                    <a:pt x="2868713" y="2824839"/>
                    <a:pt x="2781187" y="2856509"/>
                    <a:pt x="2711166" y="2888178"/>
                  </a:cubicBezTo>
                  <a:cubicBezTo>
                    <a:pt x="2641145" y="2919848"/>
                    <a:pt x="2588629" y="2951518"/>
                    <a:pt x="2550117" y="2986354"/>
                  </a:cubicBezTo>
                  <a:cubicBezTo>
                    <a:pt x="2511606" y="3018024"/>
                    <a:pt x="2483597" y="3052860"/>
                    <a:pt x="2466092" y="3087697"/>
                  </a:cubicBezTo>
                  <a:cubicBezTo>
                    <a:pt x="2445086" y="3125701"/>
                    <a:pt x="2433604" y="3159391"/>
                    <a:pt x="2420578" y="3217543"/>
                  </a:cubicBezTo>
                  <a:cubicBezTo>
                    <a:pt x="2407552" y="3275695"/>
                    <a:pt x="2400327" y="3409351"/>
                    <a:pt x="2445086" y="3470900"/>
                  </a:cubicBezTo>
                  <a:cubicBezTo>
                    <a:pt x="2489845" y="3532449"/>
                    <a:pt x="2490599" y="3537406"/>
                    <a:pt x="2529111" y="3575409"/>
                  </a:cubicBezTo>
                  <a:cubicBezTo>
                    <a:pt x="2606134" y="3654583"/>
                    <a:pt x="2732172" y="3743258"/>
                    <a:pt x="2886218" y="3828766"/>
                  </a:cubicBezTo>
                  <a:cubicBezTo>
                    <a:pt x="3036764" y="3914274"/>
                    <a:pt x="3218818" y="3996616"/>
                    <a:pt x="3414877" y="4075790"/>
                  </a:cubicBezTo>
                  <a:cubicBezTo>
                    <a:pt x="3607435" y="4151797"/>
                    <a:pt x="3817499" y="4224637"/>
                    <a:pt x="4034564" y="4294310"/>
                  </a:cubicBezTo>
                  <a:cubicBezTo>
                    <a:pt x="4251629" y="4360816"/>
                    <a:pt x="4475697" y="4427323"/>
                    <a:pt x="4706767" y="4487495"/>
                  </a:cubicBezTo>
                  <a:cubicBezTo>
                    <a:pt x="5165405" y="4607839"/>
                    <a:pt x="5645049" y="4712349"/>
                    <a:pt x="6128195" y="4810525"/>
                  </a:cubicBezTo>
                  <a:cubicBezTo>
                    <a:pt x="6614841" y="4905534"/>
                    <a:pt x="7111991" y="4994209"/>
                    <a:pt x="7609141" y="5070216"/>
                  </a:cubicBezTo>
                  <a:cubicBezTo>
                    <a:pt x="8109791" y="5149390"/>
                    <a:pt x="8613943" y="5222230"/>
                    <a:pt x="9118095" y="5285570"/>
                  </a:cubicBezTo>
                  <a:lnTo>
                    <a:pt x="9143999" y="5288702"/>
                  </a:lnTo>
                  <a:lnTo>
                    <a:pt x="9143999" y="6061990"/>
                  </a:lnTo>
                  <a:lnTo>
                    <a:pt x="4752032" y="6061990"/>
                  </a:lnTo>
                  <a:cubicBezTo>
                    <a:pt x="4441382" y="5969608"/>
                    <a:pt x="4132773" y="5869741"/>
                    <a:pt x="3828002" y="5760614"/>
                  </a:cubicBezTo>
                  <a:cubicBezTo>
                    <a:pt x="3572425" y="5671939"/>
                    <a:pt x="3323850" y="5576930"/>
                    <a:pt x="3071774" y="5475587"/>
                  </a:cubicBezTo>
                  <a:cubicBezTo>
                    <a:pt x="2823199" y="5371078"/>
                    <a:pt x="2574625" y="5260234"/>
                    <a:pt x="2329551" y="5136722"/>
                  </a:cubicBezTo>
                  <a:cubicBezTo>
                    <a:pt x="2087978" y="5010044"/>
                    <a:pt x="1846405" y="4873864"/>
                    <a:pt x="1615336" y="4712349"/>
                  </a:cubicBezTo>
                  <a:cubicBezTo>
                    <a:pt x="1499801" y="4630008"/>
                    <a:pt x="1387767" y="4544500"/>
                    <a:pt x="1282736" y="4446324"/>
                  </a:cubicBezTo>
                  <a:cubicBezTo>
                    <a:pt x="1177704" y="4348149"/>
                    <a:pt x="1076173" y="4243639"/>
                    <a:pt x="992148" y="4123294"/>
                  </a:cubicBezTo>
                  <a:cubicBezTo>
                    <a:pt x="908123" y="4006116"/>
                    <a:pt x="834601" y="3873104"/>
                    <a:pt x="792588" y="3733758"/>
                  </a:cubicBezTo>
                  <a:cubicBezTo>
                    <a:pt x="750575" y="3591244"/>
                    <a:pt x="740072" y="3442397"/>
                    <a:pt x="761078" y="3296717"/>
                  </a:cubicBezTo>
                  <a:lnTo>
                    <a:pt x="764579" y="3271381"/>
                  </a:lnTo>
                  <a:lnTo>
                    <a:pt x="767643" y="3257526"/>
                  </a:lnTo>
                  <a:cubicBezTo>
                    <a:pt x="768081" y="3249212"/>
                    <a:pt x="771582" y="3242878"/>
                    <a:pt x="771582" y="3242878"/>
                  </a:cubicBezTo>
                  <a:lnTo>
                    <a:pt x="774645" y="3234565"/>
                  </a:lnTo>
                  <a:lnTo>
                    <a:pt x="775083" y="3226251"/>
                  </a:lnTo>
                  <a:lnTo>
                    <a:pt x="775083" y="3223876"/>
                  </a:lnTo>
                  <a:lnTo>
                    <a:pt x="778146" y="3218334"/>
                  </a:lnTo>
                  <a:lnTo>
                    <a:pt x="782085" y="3195374"/>
                  </a:lnTo>
                  <a:cubicBezTo>
                    <a:pt x="792588" y="3166871"/>
                    <a:pt x="799590" y="3138368"/>
                    <a:pt x="813594" y="3106699"/>
                  </a:cubicBezTo>
                  <a:cubicBezTo>
                    <a:pt x="834601" y="3046527"/>
                    <a:pt x="859108" y="2986354"/>
                    <a:pt x="890617" y="2926182"/>
                  </a:cubicBezTo>
                  <a:cubicBezTo>
                    <a:pt x="953636" y="2802670"/>
                    <a:pt x="1041163" y="2679159"/>
                    <a:pt x="1156698" y="2565148"/>
                  </a:cubicBezTo>
                  <a:cubicBezTo>
                    <a:pt x="1272232" y="2447970"/>
                    <a:pt x="1419277" y="2340294"/>
                    <a:pt x="1576824" y="2254786"/>
                  </a:cubicBezTo>
                  <a:cubicBezTo>
                    <a:pt x="1737873" y="2169278"/>
                    <a:pt x="1909424" y="2102772"/>
                    <a:pt x="2077475" y="2055267"/>
                  </a:cubicBezTo>
                  <a:cubicBezTo>
                    <a:pt x="2242024" y="2004596"/>
                    <a:pt x="2406574" y="1972926"/>
                    <a:pt x="2560620" y="1947590"/>
                  </a:cubicBezTo>
                  <a:cubicBezTo>
                    <a:pt x="2718168" y="1922255"/>
                    <a:pt x="2865212" y="1903253"/>
                    <a:pt x="3005254" y="1890585"/>
                  </a:cubicBezTo>
                  <a:cubicBezTo>
                    <a:pt x="3145296" y="1874750"/>
                    <a:pt x="3281837" y="1862082"/>
                    <a:pt x="3404374" y="1852581"/>
                  </a:cubicBezTo>
                  <a:lnTo>
                    <a:pt x="3754480" y="1814578"/>
                  </a:lnTo>
                  <a:cubicBezTo>
                    <a:pt x="3856010" y="1798743"/>
                    <a:pt x="3947038" y="1782908"/>
                    <a:pt x="4006556" y="1763907"/>
                  </a:cubicBezTo>
                  <a:cubicBezTo>
                    <a:pt x="4038065" y="1754406"/>
                    <a:pt x="4066074" y="1748072"/>
                    <a:pt x="4083579" y="1738571"/>
                  </a:cubicBezTo>
                  <a:cubicBezTo>
                    <a:pt x="4104585" y="1732237"/>
                    <a:pt x="4122090" y="1722736"/>
                    <a:pt x="4136095" y="1713235"/>
                  </a:cubicBezTo>
                  <a:cubicBezTo>
                    <a:pt x="4150099" y="1703734"/>
                    <a:pt x="4164103" y="1691066"/>
                    <a:pt x="4178107" y="1672065"/>
                  </a:cubicBezTo>
                  <a:cubicBezTo>
                    <a:pt x="4192112" y="1653063"/>
                    <a:pt x="4202615" y="1630894"/>
                    <a:pt x="4209617" y="1605558"/>
                  </a:cubicBezTo>
                  <a:cubicBezTo>
                    <a:pt x="4220120" y="1577056"/>
                    <a:pt x="4223621" y="1548553"/>
                    <a:pt x="4227122" y="1513716"/>
                  </a:cubicBezTo>
                  <a:lnTo>
                    <a:pt x="4227122" y="1505403"/>
                  </a:lnTo>
                  <a:lnTo>
                    <a:pt x="4227122" y="1495902"/>
                  </a:lnTo>
                  <a:lnTo>
                    <a:pt x="4227122" y="1482047"/>
                  </a:lnTo>
                  <a:cubicBezTo>
                    <a:pt x="4227122" y="1475713"/>
                    <a:pt x="4227122" y="1469379"/>
                    <a:pt x="4223621" y="1463045"/>
                  </a:cubicBezTo>
                  <a:cubicBezTo>
                    <a:pt x="4220120" y="1447210"/>
                    <a:pt x="4209617" y="1428208"/>
                    <a:pt x="4192112" y="1409207"/>
                  </a:cubicBezTo>
                  <a:cubicBezTo>
                    <a:pt x="4171105" y="1387038"/>
                    <a:pt x="4146598" y="1364869"/>
                    <a:pt x="4118589" y="1342700"/>
                  </a:cubicBezTo>
                  <a:cubicBezTo>
                    <a:pt x="4055570" y="1295196"/>
                    <a:pt x="3975046" y="1247691"/>
                    <a:pt x="3884019" y="1203354"/>
                  </a:cubicBezTo>
                  <a:cubicBezTo>
                    <a:pt x="3792991" y="1159016"/>
                    <a:pt x="3691461" y="1117846"/>
                    <a:pt x="3582928" y="1076675"/>
                  </a:cubicBezTo>
                  <a:cubicBezTo>
                    <a:pt x="3477896" y="1038672"/>
                    <a:pt x="3365863" y="1000668"/>
                    <a:pt x="3253829" y="965832"/>
                  </a:cubicBezTo>
                  <a:cubicBezTo>
                    <a:pt x="3026261" y="892992"/>
                    <a:pt x="2784688" y="829652"/>
                    <a:pt x="2543115" y="772647"/>
                  </a:cubicBezTo>
                  <a:cubicBezTo>
                    <a:pt x="2056469" y="655469"/>
                    <a:pt x="1548816" y="557293"/>
                    <a:pt x="1041163" y="468619"/>
                  </a:cubicBezTo>
                  <a:cubicBezTo>
                    <a:pt x="696624" y="408848"/>
                    <a:pt x="348905" y="354833"/>
                    <a:pt x="0" y="30467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0" y="869184"/>
              <a:ext cx="8795010" cy="5988817"/>
            </a:xfrm>
            <a:custGeom>
              <a:avLst/>
              <a:gdLst/>
              <a:ahLst/>
              <a:cxnLst/>
              <a:rect l="l" t="t" r="r" b="b"/>
              <a:pathLst>
                <a:path w="8795010" h="5988817">
                  <a:moveTo>
                    <a:pt x="0" y="0"/>
                  </a:moveTo>
                  <a:cubicBezTo>
                    <a:pt x="1275901" y="148554"/>
                    <a:pt x="2311734" y="316320"/>
                    <a:pt x="3082902" y="500228"/>
                  </a:cubicBezTo>
                  <a:cubicBezTo>
                    <a:pt x="4178728" y="759957"/>
                    <a:pt x="4735394" y="1048193"/>
                    <a:pt x="4784409" y="1380772"/>
                  </a:cubicBezTo>
                  <a:cubicBezTo>
                    <a:pt x="4882438" y="2049099"/>
                    <a:pt x="4129714" y="2159959"/>
                    <a:pt x="3404998" y="2267652"/>
                  </a:cubicBezTo>
                  <a:cubicBezTo>
                    <a:pt x="2627767" y="2381679"/>
                    <a:pt x="1829529" y="2498874"/>
                    <a:pt x="1703491" y="3230549"/>
                  </a:cubicBezTo>
                  <a:cubicBezTo>
                    <a:pt x="1542443" y="4168107"/>
                    <a:pt x="3888142" y="4931457"/>
                    <a:pt x="5887237" y="5409738"/>
                  </a:cubicBezTo>
                  <a:cubicBezTo>
                    <a:pt x="6920721" y="5655400"/>
                    <a:pt x="7970450" y="5850672"/>
                    <a:pt x="8795010" y="5988817"/>
                  </a:cubicBezTo>
                  <a:lnTo>
                    <a:pt x="7910172" y="5988817"/>
                  </a:lnTo>
                  <a:cubicBezTo>
                    <a:pt x="7256881" y="5868994"/>
                    <a:pt x="6531625" y="5722599"/>
                    <a:pt x="5813715" y="5552272"/>
                  </a:cubicBezTo>
                  <a:cubicBezTo>
                    <a:pt x="4507826" y="5238697"/>
                    <a:pt x="3478520" y="4909285"/>
                    <a:pt x="2757305" y="4570370"/>
                  </a:cubicBezTo>
                  <a:cubicBezTo>
                    <a:pt x="1829529" y="4136433"/>
                    <a:pt x="1398901" y="3677156"/>
                    <a:pt x="1479425" y="3211544"/>
                  </a:cubicBezTo>
                  <a:cubicBezTo>
                    <a:pt x="1545945" y="2837788"/>
                    <a:pt x="1773512" y="2571724"/>
                    <a:pt x="2183134" y="2394349"/>
                  </a:cubicBezTo>
                  <a:cubicBezTo>
                    <a:pt x="2529737" y="2242312"/>
                    <a:pt x="2949863" y="2178964"/>
                    <a:pt x="3355983" y="2121950"/>
                  </a:cubicBezTo>
                  <a:cubicBezTo>
                    <a:pt x="3709589" y="2068104"/>
                    <a:pt x="4042188" y="2020592"/>
                    <a:pt x="4269755" y="1916067"/>
                  </a:cubicBezTo>
                  <a:cubicBezTo>
                    <a:pt x="4416799" y="1846384"/>
                    <a:pt x="4609356" y="1716520"/>
                    <a:pt x="4560342" y="1396610"/>
                  </a:cubicBezTo>
                  <a:cubicBezTo>
                    <a:pt x="4521830" y="1133713"/>
                    <a:pt x="3986171" y="873984"/>
                    <a:pt x="3009380" y="642762"/>
                  </a:cubicBezTo>
                  <a:cubicBezTo>
                    <a:pt x="2258781" y="463602"/>
                    <a:pt x="1245927" y="300260"/>
                    <a:pt x="0" y="153235"/>
                  </a:cubicBezTo>
                  <a:close/>
                </a:path>
              </a:pathLst>
            </a:custGeom>
            <a:solidFill>
              <a:srgbClr val="FFDB0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0" y="918280"/>
              <a:ext cx="8513236" cy="5939720"/>
            </a:xfrm>
            <a:custGeom>
              <a:avLst/>
              <a:gdLst/>
              <a:ahLst/>
              <a:cxnLst/>
              <a:rect l="l" t="t" r="r" b="b"/>
              <a:pathLst>
                <a:path w="8513236" h="5939720">
                  <a:moveTo>
                    <a:pt x="0" y="0"/>
                  </a:moveTo>
                  <a:cubicBezTo>
                    <a:pt x="1267237" y="148192"/>
                    <a:pt x="2295572" y="315238"/>
                    <a:pt x="3057919" y="495651"/>
                  </a:cubicBezTo>
                  <a:cubicBezTo>
                    <a:pt x="3555058" y="612834"/>
                    <a:pt x="3943667" y="739519"/>
                    <a:pt x="4216743" y="869370"/>
                  </a:cubicBezTo>
                  <a:cubicBezTo>
                    <a:pt x="4521328" y="1015057"/>
                    <a:pt x="4689375" y="1173412"/>
                    <a:pt x="4713882" y="1334935"/>
                  </a:cubicBezTo>
                  <a:cubicBezTo>
                    <a:pt x="4804908" y="1965190"/>
                    <a:pt x="4118716" y="2066537"/>
                    <a:pt x="3387011" y="2174219"/>
                  </a:cubicBezTo>
                  <a:cubicBezTo>
                    <a:pt x="2588788" y="2291402"/>
                    <a:pt x="1766058" y="2411752"/>
                    <a:pt x="1633021" y="3175025"/>
                  </a:cubicBezTo>
                  <a:cubicBezTo>
                    <a:pt x="1559500" y="3599417"/>
                    <a:pt x="1969115" y="4023810"/>
                    <a:pt x="2844359" y="4435534"/>
                  </a:cubicBezTo>
                  <a:cubicBezTo>
                    <a:pt x="3555058" y="4771248"/>
                    <a:pt x="4570342" y="5097460"/>
                    <a:pt x="5865704" y="5404669"/>
                  </a:cubicBezTo>
                  <a:cubicBezTo>
                    <a:pt x="6793025" y="5624727"/>
                    <a:pt x="7733382" y="5804910"/>
                    <a:pt x="8513236" y="5939720"/>
                  </a:cubicBezTo>
                  <a:lnTo>
                    <a:pt x="8179609" y="5939720"/>
                  </a:lnTo>
                  <a:cubicBezTo>
                    <a:pt x="7465516" y="5812559"/>
                    <a:pt x="6646676" y="5651037"/>
                    <a:pt x="5837696" y="5458510"/>
                  </a:cubicBezTo>
                  <a:cubicBezTo>
                    <a:pt x="4538833" y="5148133"/>
                    <a:pt x="3513046" y="4818754"/>
                    <a:pt x="2798847" y="4483041"/>
                  </a:cubicBezTo>
                  <a:cubicBezTo>
                    <a:pt x="1892093" y="4058648"/>
                    <a:pt x="1471976" y="3615253"/>
                    <a:pt x="1548997" y="3168691"/>
                  </a:cubicBezTo>
                  <a:cubicBezTo>
                    <a:pt x="1689036" y="2364245"/>
                    <a:pt x="2581786" y="2234394"/>
                    <a:pt x="3369506" y="2117211"/>
                  </a:cubicBezTo>
                  <a:cubicBezTo>
                    <a:pt x="4090708" y="2012696"/>
                    <a:pt x="4713882" y="1920850"/>
                    <a:pt x="4629859" y="1341269"/>
                  </a:cubicBezTo>
                  <a:cubicBezTo>
                    <a:pt x="4559122" y="844575"/>
                    <a:pt x="2958673" y="403585"/>
                    <a:pt x="0" y="57926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1780450" y="2884549"/>
            <a:ext cx="1299813" cy="1336539"/>
            <a:chOff x="6453494" y="2317132"/>
            <a:chExt cx="1969724" cy="2047043"/>
          </a:xfrm>
        </p:grpSpPr>
        <p:sp>
          <p:nvSpPr>
            <p:cNvPr id="42" name="Oval 41"/>
            <p:cNvSpPr/>
            <p:nvPr/>
          </p:nvSpPr>
          <p:spPr>
            <a:xfrm>
              <a:off x="6453494" y="3671628"/>
              <a:ext cx="1969724" cy="692547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0"/>
                  </a:schemeClr>
                </a:gs>
                <a:gs pos="100000">
                  <a:schemeClr val="bg1">
                    <a:alpha val="0"/>
                    <a:lumMod val="0"/>
                    <a:lumOff val="10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Oval 39"/>
            <p:cNvSpPr/>
            <p:nvPr/>
          </p:nvSpPr>
          <p:spPr>
            <a:xfrm>
              <a:off x="6581146" y="2317132"/>
              <a:ext cx="1741714" cy="1741714"/>
            </a:xfrm>
            <a:prstGeom prst="ellipse">
              <a:avLst/>
            </a:prstGeom>
            <a:gradFill>
              <a:gsLst>
                <a:gs pos="35000">
                  <a:srgbClr val="00297A"/>
                </a:gs>
                <a:gs pos="70000">
                  <a:srgbClr val="0070C0"/>
                </a:gs>
                <a:gs pos="100000">
                  <a:srgbClr val="00B0F0"/>
                </a:gs>
              </a:gsLst>
              <a:lin ang="5400000" scaled="1"/>
            </a:gradFill>
            <a:ln w="12700" cap="flat" cmpd="sng" algn="ctr">
              <a:solidFill>
                <a:srgbClr val="00206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41" name="Oval 40"/>
            <p:cNvSpPr/>
            <p:nvPr/>
          </p:nvSpPr>
          <p:spPr>
            <a:xfrm>
              <a:off x="6766204" y="2374552"/>
              <a:ext cx="1371601" cy="1206005"/>
            </a:xfrm>
            <a:prstGeom prst="ellipse">
              <a:avLst/>
            </a:prstGeom>
            <a:gradFill>
              <a:gsLst>
                <a:gs pos="0">
                  <a:sysClr val="window" lastClr="FFFFFF">
                    <a:lumMod val="100000"/>
                    <a:alpha val="80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lin ang="5400000" scaled="1"/>
            </a:gra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6727935" y="2909971"/>
              <a:ext cx="1444063" cy="6801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schemeClr val="bg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2001</a:t>
              </a:r>
              <a:endParaRPr lang="en-US" sz="2400" b="1" dirty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3229498" y="4468756"/>
            <a:ext cx="1429784" cy="1408516"/>
            <a:chOff x="6453494" y="2317132"/>
            <a:chExt cx="1969724" cy="2047043"/>
          </a:xfrm>
        </p:grpSpPr>
        <p:sp>
          <p:nvSpPr>
            <p:cNvPr id="52" name="Oval 51"/>
            <p:cNvSpPr/>
            <p:nvPr/>
          </p:nvSpPr>
          <p:spPr>
            <a:xfrm>
              <a:off x="6453494" y="3671628"/>
              <a:ext cx="1969724" cy="692547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0"/>
                  </a:schemeClr>
                </a:gs>
                <a:gs pos="100000">
                  <a:schemeClr val="bg1">
                    <a:alpha val="0"/>
                    <a:lumMod val="0"/>
                    <a:lumOff val="10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53" name="Oval 52"/>
            <p:cNvSpPr/>
            <p:nvPr/>
          </p:nvSpPr>
          <p:spPr>
            <a:xfrm>
              <a:off x="6581146" y="2317132"/>
              <a:ext cx="1741714" cy="1741714"/>
            </a:xfrm>
            <a:prstGeom prst="ellipse">
              <a:avLst/>
            </a:prstGeom>
            <a:gradFill>
              <a:gsLst>
                <a:gs pos="35000">
                  <a:srgbClr val="00297A"/>
                </a:gs>
                <a:gs pos="70000">
                  <a:srgbClr val="0070C0"/>
                </a:gs>
                <a:gs pos="100000">
                  <a:srgbClr val="00B0F0"/>
                </a:gs>
              </a:gsLst>
              <a:lin ang="5400000" scaled="1"/>
            </a:gradFill>
            <a:ln w="12700" cap="flat" cmpd="sng" algn="ctr">
              <a:solidFill>
                <a:srgbClr val="00206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1200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54" name="Oval 53"/>
            <p:cNvSpPr/>
            <p:nvPr/>
          </p:nvSpPr>
          <p:spPr>
            <a:xfrm>
              <a:off x="6766204" y="2374552"/>
              <a:ext cx="1371601" cy="1206005"/>
            </a:xfrm>
            <a:prstGeom prst="ellipse">
              <a:avLst/>
            </a:prstGeom>
            <a:gradFill>
              <a:gsLst>
                <a:gs pos="0">
                  <a:sysClr val="window" lastClr="FFFFFF">
                    <a:lumMod val="100000"/>
                    <a:alpha val="80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lin ang="5400000" scaled="1"/>
            </a:gra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6895338" y="2935069"/>
              <a:ext cx="1075846" cy="6147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800" b="1" dirty="0" smtClean="0">
                  <a:solidFill>
                    <a:schemeClr val="bg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2014</a:t>
              </a:r>
              <a:endParaRPr lang="en-US" sz="2800" b="1" dirty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</p:grpSp>
      <p:sp>
        <p:nvSpPr>
          <p:cNvPr id="56" name="TextBox 55"/>
          <p:cNvSpPr txBox="1"/>
          <p:nvPr/>
        </p:nvSpPr>
        <p:spPr>
          <a:xfrm>
            <a:off x="4363020" y="4149884"/>
            <a:ext cx="1447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ctr" rtl="0"/>
            <a:r>
              <a:rPr lang="en-US" sz="1400" dirty="0" err="1" smtClean="0"/>
              <a:t>Strugarek</a:t>
            </a:r>
            <a:r>
              <a:rPr lang="en-US" sz="1400" dirty="0" smtClean="0"/>
              <a:t> &amp; Charbonneau</a:t>
            </a:r>
            <a:endParaRPr lang="en-US" sz="1400" dirty="0"/>
          </a:p>
        </p:txBody>
      </p:sp>
      <p:grpSp>
        <p:nvGrpSpPr>
          <p:cNvPr id="48" name="Group 47"/>
          <p:cNvGrpSpPr/>
          <p:nvPr/>
        </p:nvGrpSpPr>
        <p:grpSpPr>
          <a:xfrm>
            <a:off x="6337627" y="5076386"/>
            <a:ext cx="1519036" cy="1592974"/>
            <a:chOff x="1329655" y="2514600"/>
            <a:chExt cx="1337345" cy="1389841"/>
          </a:xfrm>
        </p:grpSpPr>
        <p:sp>
          <p:nvSpPr>
            <p:cNvPr id="65" name="Oval 64"/>
            <p:cNvSpPr/>
            <p:nvPr/>
          </p:nvSpPr>
          <p:spPr>
            <a:xfrm>
              <a:off x="1329655" y="3434236"/>
              <a:ext cx="1337345" cy="470205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0"/>
                  </a:schemeClr>
                </a:gs>
                <a:gs pos="100000">
                  <a:schemeClr val="bg1">
                    <a:alpha val="0"/>
                    <a:lumMod val="0"/>
                    <a:lumOff val="10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66" name="Oval 65"/>
            <p:cNvSpPr/>
            <p:nvPr/>
          </p:nvSpPr>
          <p:spPr>
            <a:xfrm>
              <a:off x="1416324" y="2514600"/>
              <a:ext cx="1182537" cy="1182537"/>
            </a:xfrm>
            <a:prstGeom prst="ellipse">
              <a:avLst/>
            </a:prstGeom>
            <a:gradFill>
              <a:gsLst>
                <a:gs pos="46000">
                  <a:srgbClr val="C00000"/>
                </a:gs>
                <a:gs pos="70000">
                  <a:srgbClr val="E30000"/>
                </a:gs>
                <a:gs pos="100000">
                  <a:srgbClr val="FF4F4F"/>
                </a:gs>
              </a:gsLst>
              <a:lin ang="5400000" scaled="1"/>
            </a:gradFill>
            <a:ln w="12700" cap="flat" cmpd="sng" algn="ctr">
              <a:solidFill>
                <a:srgbClr val="76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67" name="Oval 66"/>
            <p:cNvSpPr/>
            <p:nvPr/>
          </p:nvSpPr>
          <p:spPr>
            <a:xfrm>
              <a:off x="1541970" y="2553585"/>
              <a:ext cx="931249" cy="818818"/>
            </a:xfrm>
            <a:prstGeom prst="ellipse">
              <a:avLst/>
            </a:prstGeom>
            <a:gradFill>
              <a:gsLst>
                <a:gs pos="0">
                  <a:sysClr val="window" lastClr="FFFFFF">
                    <a:lumMod val="100000"/>
                    <a:alpha val="80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lin ang="5400000" scaled="1"/>
            </a:gra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1659838" y="2893205"/>
              <a:ext cx="683048" cy="3874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schemeClr val="bg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2017</a:t>
              </a:r>
              <a:endParaRPr lang="en-US" sz="2400" b="1" dirty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</p:grpSp>
      <p:sp>
        <p:nvSpPr>
          <p:cNvPr id="69" name="TextBox 68"/>
          <p:cNvSpPr txBox="1"/>
          <p:nvPr/>
        </p:nvSpPr>
        <p:spPr>
          <a:xfrm>
            <a:off x="7308304" y="4581128"/>
            <a:ext cx="148171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ctr" rtl="0"/>
            <a:r>
              <a:rPr lang="en-US" sz="1600" dirty="0" smtClean="0"/>
              <a:t>The Optimized Model</a:t>
            </a:r>
            <a:endParaRPr lang="en-US" sz="1600" i="1" dirty="0"/>
          </a:p>
        </p:txBody>
      </p:sp>
      <p:sp>
        <p:nvSpPr>
          <p:cNvPr id="74" name="TextBox 73"/>
          <p:cNvSpPr txBox="1"/>
          <p:nvPr/>
        </p:nvSpPr>
        <p:spPr>
          <a:xfrm>
            <a:off x="539552" y="2886169"/>
            <a:ext cx="13815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ctr" rtl="0"/>
            <a:r>
              <a:rPr lang="en-US" sz="1400" dirty="0" smtClean="0"/>
              <a:t>Norman </a:t>
            </a:r>
            <a:r>
              <a:rPr lang="en-US" sz="1400" i="1" dirty="0" smtClean="0"/>
              <a:t>et al</a:t>
            </a:r>
            <a:endParaRPr lang="en-US" sz="1400" dirty="0"/>
          </a:p>
        </p:txBody>
      </p:sp>
      <p:grpSp>
        <p:nvGrpSpPr>
          <p:cNvPr id="75" name="Group 74"/>
          <p:cNvGrpSpPr/>
          <p:nvPr/>
        </p:nvGrpSpPr>
        <p:grpSpPr>
          <a:xfrm>
            <a:off x="3707904" y="1801758"/>
            <a:ext cx="1068975" cy="1053072"/>
            <a:chOff x="6453494" y="2317132"/>
            <a:chExt cx="1969724" cy="2047043"/>
          </a:xfrm>
        </p:grpSpPr>
        <p:sp>
          <p:nvSpPr>
            <p:cNvPr id="76" name="Oval 75"/>
            <p:cNvSpPr/>
            <p:nvPr/>
          </p:nvSpPr>
          <p:spPr>
            <a:xfrm>
              <a:off x="6453494" y="3671628"/>
              <a:ext cx="1969724" cy="692547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0"/>
                  </a:schemeClr>
                </a:gs>
                <a:gs pos="100000">
                  <a:schemeClr val="bg1">
                    <a:alpha val="0"/>
                    <a:lumMod val="0"/>
                    <a:lumOff val="10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77" name="Oval 76"/>
            <p:cNvSpPr/>
            <p:nvPr/>
          </p:nvSpPr>
          <p:spPr>
            <a:xfrm>
              <a:off x="6581145" y="2317132"/>
              <a:ext cx="1741713" cy="1741714"/>
            </a:xfrm>
            <a:prstGeom prst="ellipse">
              <a:avLst/>
            </a:prstGeom>
            <a:gradFill>
              <a:gsLst>
                <a:gs pos="35000">
                  <a:srgbClr val="00297A"/>
                </a:gs>
                <a:gs pos="70000">
                  <a:srgbClr val="0070C0"/>
                </a:gs>
                <a:gs pos="100000">
                  <a:srgbClr val="00B0F0"/>
                </a:gs>
              </a:gsLst>
              <a:lin ang="5400000" scaled="1"/>
            </a:gradFill>
            <a:ln w="12700" cap="flat" cmpd="sng" algn="ctr">
              <a:solidFill>
                <a:srgbClr val="00206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1200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78" name="Oval 77"/>
            <p:cNvSpPr/>
            <p:nvPr/>
          </p:nvSpPr>
          <p:spPr>
            <a:xfrm>
              <a:off x="6766204" y="2374552"/>
              <a:ext cx="1371601" cy="1206005"/>
            </a:xfrm>
            <a:prstGeom prst="ellipse">
              <a:avLst/>
            </a:prstGeom>
            <a:gradFill>
              <a:gsLst>
                <a:gs pos="0">
                  <a:sysClr val="window" lastClr="FFFFFF">
                    <a:lumMod val="100000"/>
                    <a:alpha val="80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lin ang="5400000" scaled="1"/>
            </a:gra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6881290" y="2867645"/>
              <a:ext cx="1141421" cy="6486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1996</a:t>
              </a:r>
              <a:endParaRPr lang="en-US" sz="2000" b="1" dirty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</p:grpSp>
      <p:grpSp>
        <p:nvGrpSpPr>
          <p:cNvPr id="80" name="Group 79"/>
          <p:cNvGrpSpPr/>
          <p:nvPr/>
        </p:nvGrpSpPr>
        <p:grpSpPr>
          <a:xfrm>
            <a:off x="1043608" y="1287924"/>
            <a:ext cx="861361" cy="848547"/>
            <a:chOff x="6453494" y="2317132"/>
            <a:chExt cx="1969724" cy="2047043"/>
          </a:xfrm>
        </p:grpSpPr>
        <p:sp>
          <p:nvSpPr>
            <p:cNvPr id="81" name="Oval 80"/>
            <p:cNvSpPr/>
            <p:nvPr/>
          </p:nvSpPr>
          <p:spPr>
            <a:xfrm>
              <a:off x="6453494" y="3671628"/>
              <a:ext cx="1969724" cy="692547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0"/>
                  </a:schemeClr>
                </a:gs>
                <a:gs pos="100000">
                  <a:schemeClr val="bg1">
                    <a:alpha val="0"/>
                    <a:lumMod val="0"/>
                    <a:lumOff val="10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82" name="Oval 81"/>
            <p:cNvSpPr/>
            <p:nvPr/>
          </p:nvSpPr>
          <p:spPr>
            <a:xfrm>
              <a:off x="6581145" y="2317132"/>
              <a:ext cx="1741713" cy="1741714"/>
            </a:xfrm>
            <a:prstGeom prst="ellipse">
              <a:avLst/>
            </a:prstGeom>
            <a:gradFill>
              <a:gsLst>
                <a:gs pos="35000">
                  <a:srgbClr val="00297A"/>
                </a:gs>
                <a:gs pos="70000">
                  <a:srgbClr val="0070C0"/>
                </a:gs>
                <a:gs pos="100000">
                  <a:srgbClr val="00B0F0"/>
                </a:gs>
              </a:gsLst>
              <a:lin ang="5400000" scaled="1"/>
            </a:gradFill>
            <a:ln w="12700" cap="flat" cmpd="sng" algn="ctr">
              <a:solidFill>
                <a:srgbClr val="00206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1200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83" name="Oval 82"/>
            <p:cNvSpPr/>
            <p:nvPr/>
          </p:nvSpPr>
          <p:spPr>
            <a:xfrm>
              <a:off x="6766204" y="2374552"/>
              <a:ext cx="1371601" cy="1206005"/>
            </a:xfrm>
            <a:prstGeom prst="ellipse">
              <a:avLst/>
            </a:prstGeom>
            <a:gradFill>
              <a:gsLst>
                <a:gs pos="0">
                  <a:sysClr val="window" lastClr="FFFFFF">
                    <a:lumMod val="100000"/>
                    <a:alpha val="80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lin ang="5400000" scaled="1"/>
            </a:gra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6846937" y="2867645"/>
              <a:ext cx="1210121" cy="6811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chemeClr val="bg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1991</a:t>
              </a:r>
              <a:endParaRPr lang="en-US" sz="1600" b="1" dirty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</p:grpSp>
      <p:sp>
        <p:nvSpPr>
          <p:cNvPr id="85" name="TextBox 84"/>
          <p:cNvSpPr txBox="1"/>
          <p:nvPr/>
        </p:nvSpPr>
        <p:spPr>
          <a:xfrm>
            <a:off x="4788024" y="1700808"/>
            <a:ext cx="11876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ctr"/>
            <a:r>
              <a:rPr lang="en-US" sz="1400" dirty="0" err="1"/>
              <a:t>Georgoulis</a:t>
            </a:r>
            <a:r>
              <a:rPr lang="en-US" sz="1400" dirty="0"/>
              <a:t> &amp;</a:t>
            </a:r>
            <a:r>
              <a:rPr lang="en-US" sz="1400" dirty="0" smtClean="0"/>
              <a:t> </a:t>
            </a:r>
            <a:r>
              <a:rPr lang="en-US" sz="1400" dirty="0"/>
              <a:t>Vlahos 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1824299" y="1268760"/>
            <a:ext cx="11876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ctr"/>
            <a:r>
              <a:rPr lang="en-US" sz="1400" dirty="0" smtClean="0"/>
              <a:t>Lu &amp; Hamilton</a:t>
            </a:r>
            <a:endParaRPr lang="en-US" sz="1400" dirty="0"/>
          </a:p>
        </p:txBody>
      </p:sp>
      <p:sp>
        <p:nvSpPr>
          <p:cNvPr id="45" name="Title 3"/>
          <p:cNvSpPr>
            <a:spLocks noGrp="1"/>
          </p:cNvSpPr>
          <p:nvPr>
            <p:ph type="title"/>
          </p:nvPr>
        </p:nvSpPr>
        <p:spPr>
          <a:xfrm>
            <a:off x="611560" y="836712"/>
            <a:ext cx="9144000" cy="634082"/>
          </a:xfrm>
        </p:spPr>
        <p:txBody>
          <a:bodyPr>
            <a:normAutofit/>
          </a:bodyPr>
          <a:lstStyle/>
          <a:p>
            <a:pPr rtl="0"/>
            <a:r>
              <a:rPr lang="en-US" sz="2800" b="1" dirty="0" smtClean="0"/>
              <a:t>CA MODELS Development</a:t>
            </a:r>
            <a:endParaRPr lang="en-US" sz="2800" b="1" dirty="0"/>
          </a:p>
        </p:txBody>
      </p:sp>
      <p:sp>
        <p:nvSpPr>
          <p:cNvPr id="47" name="Title 3"/>
          <p:cNvSpPr txBox="1">
            <a:spLocks/>
          </p:cNvSpPr>
          <p:nvPr/>
        </p:nvSpPr>
        <p:spPr>
          <a:xfrm>
            <a:off x="36512" y="6323310"/>
            <a:ext cx="9144000" cy="634082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r>
              <a:rPr lang="en-US" sz="1100" dirty="0" smtClean="0"/>
              <a:t>1. </a:t>
            </a:r>
            <a:r>
              <a:rPr lang="fr-FR" sz="1100" dirty="0" err="1"/>
              <a:t>Strugarek</a:t>
            </a:r>
            <a:r>
              <a:rPr lang="fr-FR" sz="1100" dirty="0"/>
              <a:t>, A. &amp; Charbonneau, P. 2014, </a:t>
            </a:r>
            <a:r>
              <a:rPr lang="fr-FR" sz="1100" dirty="0" err="1"/>
              <a:t>SoPh</a:t>
            </a:r>
            <a:r>
              <a:rPr lang="fr-FR" sz="1100" dirty="0"/>
              <a:t>, 289, 4137</a:t>
            </a:r>
            <a:r>
              <a:rPr lang="en-US" sz="1100" i="1" dirty="0" smtClean="0"/>
              <a:t> </a:t>
            </a:r>
          </a:p>
          <a:p>
            <a:pPr algn="l" rtl="0"/>
            <a:r>
              <a:rPr lang="en-US" sz="1100" dirty="0" smtClean="0"/>
              <a:t>2. </a:t>
            </a:r>
            <a:r>
              <a:rPr lang="en-US" sz="1100" dirty="0" err="1"/>
              <a:t>Strugarek</a:t>
            </a:r>
            <a:r>
              <a:rPr lang="en-US" sz="1100" dirty="0"/>
              <a:t>, A., Charbonneau, P., Joseph, R. &amp; </a:t>
            </a:r>
            <a:r>
              <a:rPr lang="en-US" sz="1100" dirty="0" err="1"/>
              <a:t>Pirot</a:t>
            </a:r>
            <a:r>
              <a:rPr lang="en-US" sz="1100" dirty="0"/>
              <a:t>, D</a:t>
            </a:r>
            <a:r>
              <a:rPr lang="en-US" sz="1100" dirty="0" smtClean="0"/>
              <a:t>.,</a:t>
            </a:r>
            <a:r>
              <a:rPr lang="fa-IR" sz="1100" dirty="0" smtClean="0"/>
              <a:t> </a:t>
            </a:r>
            <a:r>
              <a:rPr lang="en-US" sz="1100" dirty="0"/>
              <a:t>2014, </a:t>
            </a:r>
            <a:r>
              <a:rPr lang="en-US" sz="1100" dirty="0" err="1"/>
              <a:t>SoPh</a:t>
            </a:r>
            <a:r>
              <a:rPr lang="en-US" sz="1100" dirty="0"/>
              <a:t>, 289, 2993</a:t>
            </a:r>
          </a:p>
        </p:txBody>
      </p:sp>
      <p:cxnSp>
        <p:nvCxnSpPr>
          <p:cNvPr id="49" name="Straight Connector 48"/>
          <p:cNvCxnSpPr/>
          <p:nvPr/>
        </p:nvCxnSpPr>
        <p:spPr>
          <a:xfrm>
            <a:off x="108520" y="6381328"/>
            <a:ext cx="3959424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6" name="Title 3"/>
          <p:cNvSpPr txBox="1">
            <a:spLocks/>
          </p:cNvSpPr>
          <p:nvPr/>
        </p:nvSpPr>
        <p:spPr>
          <a:xfrm>
            <a:off x="36512" y="-13394"/>
            <a:ext cx="9144000" cy="922114"/>
          </a:xfrm>
          <a:prstGeom prst="rect">
            <a:avLst/>
          </a:prstGeom>
        </p:spPr>
        <p:txBody>
          <a:bodyPr vert="horz" lIns="91440" tIns="45720" rIns="91440" bIns="45720" numCol="2" rtlCol="0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>
                    <a:lumMod val="65000"/>
                  </a:schemeClr>
                </a:solidFill>
              </a:rPr>
              <a:t>Solar </a:t>
            </a: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Flares </a:t>
            </a:r>
          </a:p>
          <a:p>
            <a:pPr marL="285750" indent="-285750" algn="l" rtl="0">
              <a:buFont typeface="Wingdings" pitchFamily="2" charset="2"/>
              <a:buChar char="Ø"/>
            </a:pPr>
            <a:r>
              <a:rPr lang="en-US" sz="1400" dirty="0"/>
              <a:t>Cellular Automaton Avalanche Models</a:t>
            </a:r>
          </a:p>
          <a:p>
            <a:pPr marL="285750" indent="-28575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>
                    <a:lumMod val="65000"/>
                  </a:schemeClr>
                </a:solidFill>
              </a:rPr>
              <a:t>The </a:t>
            </a: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Optimized Model</a:t>
            </a:r>
          </a:p>
          <a:p>
            <a:pPr marL="285750" indent="-28575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What is next ?</a:t>
            </a:r>
          </a:p>
          <a:p>
            <a:pPr algn="l" rtl="0">
              <a:lnSpc>
                <a:spcPct val="120000"/>
              </a:lnSpc>
            </a:pPr>
            <a:endParaRPr lang="fa-IR" sz="14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170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/>
          <p:cNvSpPr/>
          <p:nvPr/>
        </p:nvSpPr>
        <p:spPr>
          <a:xfrm>
            <a:off x="-14513" y="4797152"/>
            <a:ext cx="9171432" cy="2062535"/>
          </a:xfrm>
          <a:prstGeom prst="rect">
            <a:avLst/>
          </a:prstGeom>
          <a:gradFill>
            <a:gsLst>
              <a:gs pos="0">
                <a:srgbClr val="00B0F0">
                  <a:alpha val="65000"/>
                </a:srgbClr>
              </a:gs>
              <a:gs pos="50000">
                <a:srgbClr val="00AAE6">
                  <a:alpha val="31000"/>
                </a:srgbClr>
              </a:gs>
              <a:gs pos="100000">
                <a:srgbClr val="00B0F0">
                  <a:alpha val="0"/>
                </a:srgbClr>
              </a:gs>
            </a:gsLst>
            <a:lin ang="162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7" name="Group 26"/>
          <p:cNvGrpSpPr/>
          <p:nvPr/>
        </p:nvGrpSpPr>
        <p:grpSpPr>
          <a:xfrm>
            <a:off x="2627784" y="1916832"/>
            <a:ext cx="4392488" cy="3911587"/>
            <a:chOff x="2591294" y="1784244"/>
            <a:chExt cx="3996270" cy="3558747"/>
          </a:xfrm>
        </p:grpSpPr>
        <p:cxnSp>
          <p:nvCxnSpPr>
            <p:cNvPr id="44" name="Straight Arrow Connector 43"/>
            <p:cNvCxnSpPr/>
            <p:nvPr/>
          </p:nvCxnSpPr>
          <p:spPr>
            <a:xfrm flipH="1" flipV="1">
              <a:off x="3639496" y="1784244"/>
              <a:ext cx="761" cy="2785952"/>
            </a:xfrm>
            <a:prstGeom prst="straightConnector1">
              <a:avLst/>
            </a:prstGeom>
            <a:ln w="38100" cap="rnd">
              <a:gradFill>
                <a:gsLst>
                  <a:gs pos="0">
                    <a:schemeClr val="bg1">
                      <a:lumMod val="65000"/>
                    </a:schemeClr>
                  </a:gs>
                  <a:gs pos="99000">
                    <a:schemeClr val="tx1">
                      <a:lumMod val="85000"/>
                      <a:lumOff val="15000"/>
                    </a:schemeClr>
                  </a:gs>
                </a:gsLst>
                <a:lin ang="5400000" scaled="0"/>
              </a:gradFill>
              <a:beve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/>
            <p:cNvCxnSpPr/>
            <p:nvPr/>
          </p:nvCxnSpPr>
          <p:spPr>
            <a:xfrm flipH="1">
              <a:off x="2591294" y="4604063"/>
              <a:ext cx="1048202" cy="738928"/>
            </a:xfrm>
            <a:prstGeom prst="straightConnector1">
              <a:avLst/>
            </a:prstGeom>
            <a:ln w="38100" cap="rnd">
              <a:gradFill>
                <a:gsLst>
                  <a:gs pos="0">
                    <a:schemeClr val="bg1">
                      <a:lumMod val="65000"/>
                    </a:schemeClr>
                  </a:gs>
                  <a:gs pos="99000">
                    <a:schemeClr val="tx1">
                      <a:lumMod val="85000"/>
                      <a:lumOff val="15000"/>
                    </a:schemeClr>
                  </a:gs>
                </a:gsLst>
                <a:lin ang="5400000" scaled="0"/>
              </a:gradFill>
              <a:beve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/>
            <p:cNvCxnSpPr/>
            <p:nvPr/>
          </p:nvCxnSpPr>
          <p:spPr>
            <a:xfrm>
              <a:off x="3670589" y="4602874"/>
              <a:ext cx="2916975" cy="1189"/>
            </a:xfrm>
            <a:prstGeom prst="straightConnector1">
              <a:avLst/>
            </a:prstGeom>
            <a:ln w="38100" cap="rnd">
              <a:gradFill>
                <a:gsLst>
                  <a:gs pos="0">
                    <a:schemeClr val="bg1">
                      <a:lumMod val="65000"/>
                    </a:schemeClr>
                  </a:gs>
                  <a:gs pos="99000">
                    <a:schemeClr val="tx1">
                      <a:lumMod val="85000"/>
                      <a:lumOff val="15000"/>
                    </a:schemeClr>
                  </a:gs>
                </a:gsLst>
                <a:lin ang="5400000" scaled="0"/>
              </a:gradFill>
              <a:beve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53"/>
          <p:cNvGrpSpPr/>
          <p:nvPr/>
        </p:nvGrpSpPr>
        <p:grpSpPr>
          <a:xfrm>
            <a:off x="2989727" y="2337970"/>
            <a:ext cx="3505597" cy="3263516"/>
            <a:chOff x="2815080" y="1371600"/>
            <a:chExt cx="3637664" cy="3386462"/>
          </a:xfrm>
        </p:grpSpPr>
        <p:sp>
          <p:nvSpPr>
            <p:cNvPr id="36" name="Freeform 35"/>
            <p:cNvSpPr/>
            <p:nvPr/>
          </p:nvSpPr>
          <p:spPr>
            <a:xfrm>
              <a:off x="2821876" y="1371600"/>
              <a:ext cx="819298" cy="3386462"/>
            </a:xfrm>
            <a:custGeom>
              <a:avLst/>
              <a:gdLst>
                <a:gd name="connsiteX0" fmla="*/ 0 w 925417"/>
                <a:gd name="connsiteY0" fmla="*/ 0 h 3213253"/>
                <a:gd name="connsiteX1" fmla="*/ 925417 w 925417"/>
                <a:gd name="connsiteY1" fmla="*/ 0 h 3213253"/>
                <a:gd name="connsiteX2" fmla="*/ 925417 w 925417"/>
                <a:gd name="connsiteY2" fmla="*/ 3213253 h 3213253"/>
                <a:gd name="connsiteX3" fmla="*/ 0 w 925417"/>
                <a:gd name="connsiteY3" fmla="*/ 3213253 h 3213253"/>
                <a:gd name="connsiteX4" fmla="*/ 0 w 925417"/>
                <a:gd name="connsiteY4" fmla="*/ 0 h 3213253"/>
                <a:gd name="connsiteX0" fmla="*/ 0 w 938022"/>
                <a:gd name="connsiteY0" fmla="*/ 664684 h 3877937"/>
                <a:gd name="connsiteX1" fmla="*/ 938022 w 938022"/>
                <a:gd name="connsiteY1" fmla="*/ 0 h 3877937"/>
                <a:gd name="connsiteX2" fmla="*/ 925417 w 938022"/>
                <a:gd name="connsiteY2" fmla="*/ 3877937 h 3877937"/>
                <a:gd name="connsiteX3" fmla="*/ 0 w 938022"/>
                <a:gd name="connsiteY3" fmla="*/ 3877937 h 3877937"/>
                <a:gd name="connsiteX4" fmla="*/ 0 w 938022"/>
                <a:gd name="connsiteY4" fmla="*/ 664684 h 3877937"/>
                <a:gd name="connsiteX0" fmla="*/ 0 w 942224"/>
                <a:gd name="connsiteY0" fmla="*/ 664684 h 3877937"/>
                <a:gd name="connsiteX1" fmla="*/ 938022 w 942224"/>
                <a:gd name="connsiteY1" fmla="*/ 0 h 3877937"/>
                <a:gd name="connsiteX2" fmla="*/ 938022 w 942224"/>
                <a:gd name="connsiteY2" fmla="*/ 3185710 h 3877937"/>
                <a:gd name="connsiteX3" fmla="*/ 0 w 942224"/>
                <a:gd name="connsiteY3" fmla="*/ 3877937 h 3877937"/>
                <a:gd name="connsiteX4" fmla="*/ 0 w 942224"/>
                <a:gd name="connsiteY4" fmla="*/ 664684 h 3877937"/>
                <a:gd name="connsiteX0" fmla="*/ 0 w 938202"/>
                <a:gd name="connsiteY0" fmla="*/ 664684 h 3877937"/>
                <a:gd name="connsiteX1" fmla="*/ 938022 w 938202"/>
                <a:gd name="connsiteY1" fmla="*/ 0 h 3877937"/>
                <a:gd name="connsiteX2" fmla="*/ 934000 w 938202"/>
                <a:gd name="connsiteY2" fmla="*/ 3217031 h 3877937"/>
                <a:gd name="connsiteX3" fmla="*/ 0 w 938202"/>
                <a:gd name="connsiteY3" fmla="*/ 3877937 h 3877937"/>
                <a:gd name="connsiteX4" fmla="*/ 0 w 938202"/>
                <a:gd name="connsiteY4" fmla="*/ 664684 h 3877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8202" h="3877937">
                  <a:moveTo>
                    <a:pt x="0" y="664684"/>
                  </a:moveTo>
                  <a:lnTo>
                    <a:pt x="938022" y="0"/>
                  </a:lnTo>
                  <a:cubicBezTo>
                    <a:pt x="933820" y="1292646"/>
                    <a:pt x="938202" y="1924385"/>
                    <a:pt x="934000" y="3217031"/>
                  </a:cubicBezTo>
                  <a:lnTo>
                    <a:pt x="0" y="3877937"/>
                  </a:lnTo>
                  <a:lnTo>
                    <a:pt x="0" y="664684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60000"/>
                    <a:lumOff val="40000"/>
                    <a:alpha val="60000"/>
                  </a:schemeClr>
                </a:gs>
                <a:gs pos="100000">
                  <a:schemeClr val="accent1">
                    <a:tint val="23500"/>
                    <a:satMod val="160000"/>
                    <a:alpha val="5000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3632352" y="1374806"/>
              <a:ext cx="2818846" cy="2806017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60000"/>
                    <a:lumOff val="40000"/>
                    <a:alpha val="60000"/>
                  </a:schemeClr>
                </a:gs>
                <a:gs pos="100000">
                  <a:schemeClr val="accent1">
                    <a:tint val="23500"/>
                    <a:satMod val="160000"/>
                    <a:alpha val="5000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Freeform 37"/>
            <p:cNvSpPr/>
            <p:nvPr/>
          </p:nvSpPr>
          <p:spPr>
            <a:xfrm>
              <a:off x="2816634" y="4179730"/>
              <a:ext cx="3626701" cy="574116"/>
            </a:xfrm>
            <a:custGeom>
              <a:avLst/>
              <a:gdLst>
                <a:gd name="connsiteX0" fmla="*/ 0 w 3227943"/>
                <a:gd name="connsiteY0" fmla="*/ 0 h 1219200"/>
                <a:gd name="connsiteX1" fmla="*/ 3227943 w 3227943"/>
                <a:gd name="connsiteY1" fmla="*/ 0 h 1219200"/>
                <a:gd name="connsiteX2" fmla="*/ 3227943 w 3227943"/>
                <a:gd name="connsiteY2" fmla="*/ 1219200 h 1219200"/>
                <a:gd name="connsiteX3" fmla="*/ 0 w 3227943"/>
                <a:gd name="connsiteY3" fmla="*/ 1219200 h 1219200"/>
                <a:gd name="connsiteX4" fmla="*/ 0 w 3227943"/>
                <a:gd name="connsiteY4" fmla="*/ 0 h 1219200"/>
                <a:gd name="connsiteX0" fmla="*/ 0 w 4131326"/>
                <a:gd name="connsiteY0" fmla="*/ 20549 h 1239749"/>
                <a:gd name="connsiteX1" fmla="*/ 4131326 w 4131326"/>
                <a:gd name="connsiteY1" fmla="*/ 0 h 1239749"/>
                <a:gd name="connsiteX2" fmla="*/ 3227943 w 4131326"/>
                <a:gd name="connsiteY2" fmla="*/ 1239749 h 1239749"/>
                <a:gd name="connsiteX3" fmla="*/ 0 w 4131326"/>
                <a:gd name="connsiteY3" fmla="*/ 1239749 h 1239749"/>
                <a:gd name="connsiteX4" fmla="*/ 0 w 4131326"/>
                <a:gd name="connsiteY4" fmla="*/ 20549 h 1239749"/>
                <a:gd name="connsiteX0" fmla="*/ 0 w 4173945"/>
                <a:gd name="connsiteY0" fmla="*/ 31483 h 1250683"/>
                <a:gd name="connsiteX1" fmla="*/ 4173945 w 4173945"/>
                <a:gd name="connsiteY1" fmla="*/ 0 h 1250683"/>
                <a:gd name="connsiteX2" fmla="*/ 3227943 w 4173945"/>
                <a:gd name="connsiteY2" fmla="*/ 1250683 h 1250683"/>
                <a:gd name="connsiteX3" fmla="*/ 0 w 4173945"/>
                <a:gd name="connsiteY3" fmla="*/ 1250683 h 1250683"/>
                <a:gd name="connsiteX4" fmla="*/ 0 w 4173945"/>
                <a:gd name="connsiteY4" fmla="*/ 31483 h 1250683"/>
                <a:gd name="connsiteX0" fmla="*/ 988280 w 4173945"/>
                <a:gd name="connsiteY0" fmla="*/ 13261 h 1250683"/>
                <a:gd name="connsiteX1" fmla="*/ 4173945 w 4173945"/>
                <a:gd name="connsiteY1" fmla="*/ 0 h 1250683"/>
                <a:gd name="connsiteX2" fmla="*/ 3227943 w 4173945"/>
                <a:gd name="connsiteY2" fmla="*/ 1250683 h 1250683"/>
                <a:gd name="connsiteX3" fmla="*/ 0 w 4173945"/>
                <a:gd name="connsiteY3" fmla="*/ 1250683 h 1250683"/>
                <a:gd name="connsiteX4" fmla="*/ 988280 w 4173945"/>
                <a:gd name="connsiteY4" fmla="*/ 13261 h 1250683"/>
                <a:gd name="connsiteX0" fmla="*/ 964834 w 4173945"/>
                <a:gd name="connsiteY0" fmla="*/ 0 h 1259287"/>
                <a:gd name="connsiteX1" fmla="*/ 4173945 w 4173945"/>
                <a:gd name="connsiteY1" fmla="*/ 8604 h 1259287"/>
                <a:gd name="connsiteX2" fmla="*/ 3227943 w 4173945"/>
                <a:gd name="connsiteY2" fmla="*/ 1259287 h 1259287"/>
                <a:gd name="connsiteX3" fmla="*/ 0 w 4173945"/>
                <a:gd name="connsiteY3" fmla="*/ 1259287 h 1259287"/>
                <a:gd name="connsiteX4" fmla="*/ 964834 w 4173945"/>
                <a:gd name="connsiteY4" fmla="*/ 0 h 1259287"/>
                <a:gd name="connsiteX0" fmla="*/ 964834 w 4147484"/>
                <a:gd name="connsiteY0" fmla="*/ 0 h 1259287"/>
                <a:gd name="connsiteX1" fmla="*/ 4147484 w 4147484"/>
                <a:gd name="connsiteY1" fmla="*/ 46510 h 1259287"/>
                <a:gd name="connsiteX2" fmla="*/ 3227943 w 4147484"/>
                <a:gd name="connsiteY2" fmla="*/ 1259287 h 1259287"/>
                <a:gd name="connsiteX3" fmla="*/ 0 w 4147484"/>
                <a:gd name="connsiteY3" fmla="*/ 1259287 h 1259287"/>
                <a:gd name="connsiteX4" fmla="*/ 964834 w 4147484"/>
                <a:gd name="connsiteY4" fmla="*/ 0 h 1259287"/>
                <a:gd name="connsiteX0" fmla="*/ 921543 w 4147484"/>
                <a:gd name="connsiteY0" fmla="*/ 0 h 1226670"/>
                <a:gd name="connsiteX1" fmla="*/ 4147484 w 4147484"/>
                <a:gd name="connsiteY1" fmla="*/ 13893 h 1226670"/>
                <a:gd name="connsiteX2" fmla="*/ 3227943 w 4147484"/>
                <a:gd name="connsiteY2" fmla="*/ 1226670 h 1226670"/>
                <a:gd name="connsiteX3" fmla="*/ 0 w 4147484"/>
                <a:gd name="connsiteY3" fmla="*/ 1226670 h 1226670"/>
                <a:gd name="connsiteX4" fmla="*/ 921543 w 4147484"/>
                <a:gd name="connsiteY4" fmla="*/ 0 h 1226670"/>
                <a:gd name="connsiteX0" fmla="*/ 932013 w 4147484"/>
                <a:gd name="connsiteY0" fmla="*/ 2855 h 1212776"/>
                <a:gd name="connsiteX1" fmla="*/ 4147484 w 4147484"/>
                <a:gd name="connsiteY1" fmla="*/ -1 h 1212776"/>
                <a:gd name="connsiteX2" fmla="*/ 3227943 w 4147484"/>
                <a:gd name="connsiteY2" fmla="*/ 1212776 h 1212776"/>
                <a:gd name="connsiteX3" fmla="*/ 0 w 4147484"/>
                <a:gd name="connsiteY3" fmla="*/ 1212776 h 1212776"/>
                <a:gd name="connsiteX4" fmla="*/ 932013 w 4147484"/>
                <a:gd name="connsiteY4" fmla="*/ 2855 h 1212776"/>
                <a:gd name="connsiteX0" fmla="*/ 932013 w 4147484"/>
                <a:gd name="connsiteY0" fmla="*/ 2857 h 1239721"/>
                <a:gd name="connsiteX1" fmla="*/ 4147484 w 4147484"/>
                <a:gd name="connsiteY1" fmla="*/ 1 h 1239721"/>
                <a:gd name="connsiteX2" fmla="*/ 3217625 w 4147484"/>
                <a:gd name="connsiteY2" fmla="*/ 1239721 h 1239721"/>
                <a:gd name="connsiteX3" fmla="*/ 0 w 4147484"/>
                <a:gd name="connsiteY3" fmla="*/ 1212778 h 1239721"/>
                <a:gd name="connsiteX4" fmla="*/ 932013 w 4147484"/>
                <a:gd name="connsiteY4" fmla="*/ 2857 h 1239721"/>
                <a:gd name="connsiteX0" fmla="*/ 937569 w 4153040"/>
                <a:gd name="connsiteY0" fmla="*/ 2855 h 1239719"/>
                <a:gd name="connsiteX1" fmla="*/ 4153040 w 4153040"/>
                <a:gd name="connsiteY1" fmla="*/ -1 h 1239719"/>
                <a:gd name="connsiteX2" fmla="*/ 3223181 w 4153040"/>
                <a:gd name="connsiteY2" fmla="*/ 1239719 h 1239719"/>
                <a:gd name="connsiteX3" fmla="*/ 0 w 4153040"/>
                <a:gd name="connsiteY3" fmla="*/ 1239719 h 1239719"/>
                <a:gd name="connsiteX4" fmla="*/ 937569 w 4153040"/>
                <a:gd name="connsiteY4" fmla="*/ 2855 h 1239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3040" h="1239719">
                  <a:moveTo>
                    <a:pt x="937569" y="2855"/>
                  </a:moveTo>
                  <a:lnTo>
                    <a:pt x="4153040" y="-1"/>
                  </a:lnTo>
                  <a:lnTo>
                    <a:pt x="3223181" y="1239719"/>
                  </a:lnTo>
                  <a:lnTo>
                    <a:pt x="0" y="1239719"/>
                  </a:lnTo>
                  <a:lnTo>
                    <a:pt x="937569" y="2855"/>
                  </a:lnTo>
                  <a:close/>
                </a:path>
              </a:pathLst>
            </a:custGeom>
            <a:gradFill>
              <a:gsLst>
                <a:gs pos="0">
                  <a:schemeClr val="tx2">
                    <a:lumMod val="60000"/>
                    <a:lumOff val="40000"/>
                    <a:alpha val="60000"/>
                  </a:schemeClr>
                </a:gs>
                <a:gs pos="100000">
                  <a:schemeClr val="accent1">
                    <a:tint val="23500"/>
                    <a:satMod val="160000"/>
                    <a:alpha val="50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Freeform 38"/>
            <p:cNvSpPr/>
            <p:nvPr/>
          </p:nvSpPr>
          <p:spPr>
            <a:xfrm>
              <a:off x="5633446" y="1371600"/>
              <a:ext cx="819298" cy="3386462"/>
            </a:xfrm>
            <a:custGeom>
              <a:avLst/>
              <a:gdLst>
                <a:gd name="connsiteX0" fmla="*/ 0 w 925417"/>
                <a:gd name="connsiteY0" fmla="*/ 0 h 3213253"/>
                <a:gd name="connsiteX1" fmla="*/ 925417 w 925417"/>
                <a:gd name="connsiteY1" fmla="*/ 0 h 3213253"/>
                <a:gd name="connsiteX2" fmla="*/ 925417 w 925417"/>
                <a:gd name="connsiteY2" fmla="*/ 3213253 h 3213253"/>
                <a:gd name="connsiteX3" fmla="*/ 0 w 925417"/>
                <a:gd name="connsiteY3" fmla="*/ 3213253 h 3213253"/>
                <a:gd name="connsiteX4" fmla="*/ 0 w 925417"/>
                <a:gd name="connsiteY4" fmla="*/ 0 h 3213253"/>
                <a:gd name="connsiteX0" fmla="*/ 0 w 938022"/>
                <a:gd name="connsiteY0" fmla="*/ 664684 h 3877937"/>
                <a:gd name="connsiteX1" fmla="*/ 938022 w 938022"/>
                <a:gd name="connsiteY1" fmla="*/ 0 h 3877937"/>
                <a:gd name="connsiteX2" fmla="*/ 925417 w 938022"/>
                <a:gd name="connsiteY2" fmla="*/ 3877937 h 3877937"/>
                <a:gd name="connsiteX3" fmla="*/ 0 w 938022"/>
                <a:gd name="connsiteY3" fmla="*/ 3877937 h 3877937"/>
                <a:gd name="connsiteX4" fmla="*/ 0 w 938022"/>
                <a:gd name="connsiteY4" fmla="*/ 664684 h 3877937"/>
                <a:gd name="connsiteX0" fmla="*/ 0 w 942224"/>
                <a:gd name="connsiteY0" fmla="*/ 664684 h 3877937"/>
                <a:gd name="connsiteX1" fmla="*/ 938022 w 942224"/>
                <a:gd name="connsiteY1" fmla="*/ 0 h 3877937"/>
                <a:gd name="connsiteX2" fmla="*/ 938022 w 942224"/>
                <a:gd name="connsiteY2" fmla="*/ 3185710 h 3877937"/>
                <a:gd name="connsiteX3" fmla="*/ 0 w 942224"/>
                <a:gd name="connsiteY3" fmla="*/ 3877937 h 3877937"/>
                <a:gd name="connsiteX4" fmla="*/ 0 w 942224"/>
                <a:gd name="connsiteY4" fmla="*/ 664684 h 3877937"/>
                <a:gd name="connsiteX0" fmla="*/ 0 w 938202"/>
                <a:gd name="connsiteY0" fmla="*/ 664684 h 3877937"/>
                <a:gd name="connsiteX1" fmla="*/ 938022 w 938202"/>
                <a:gd name="connsiteY1" fmla="*/ 0 h 3877937"/>
                <a:gd name="connsiteX2" fmla="*/ 934000 w 938202"/>
                <a:gd name="connsiteY2" fmla="*/ 3217031 h 3877937"/>
                <a:gd name="connsiteX3" fmla="*/ 0 w 938202"/>
                <a:gd name="connsiteY3" fmla="*/ 3877937 h 3877937"/>
                <a:gd name="connsiteX4" fmla="*/ 0 w 938202"/>
                <a:gd name="connsiteY4" fmla="*/ 664684 h 3877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8202" h="3877937">
                  <a:moveTo>
                    <a:pt x="0" y="664684"/>
                  </a:moveTo>
                  <a:lnTo>
                    <a:pt x="938022" y="0"/>
                  </a:lnTo>
                  <a:cubicBezTo>
                    <a:pt x="933820" y="1292646"/>
                    <a:pt x="938202" y="1924385"/>
                    <a:pt x="934000" y="3217031"/>
                  </a:cubicBezTo>
                  <a:lnTo>
                    <a:pt x="0" y="3877937"/>
                  </a:lnTo>
                  <a:lnTo>
                    <a:pt x="0" y="664684"/>
                  </a:lnTo>
                  <a:close/>
                </a:path>
              </a:pathLst>
            </a:custGeom>
            <a:gradFill>
              <a:gsLst>
                <a:gs pos="0">
                  <a:schemeClr val="tx2">
                    <a:lumMod val="60000"/>
                    <a:lumOff val="40000"/>
                    <a:alpha val="60000"/>
                  </a:schemeClr>
                </a:gs>
                <a:gs pos="100000">
                  <a:schemeClr val="accent1">
                    <a:tint val="23500"/>
                    <a:satMod val="160000"/>
                    <a:alpha val="50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tangle 41"/>
            <p:cNvSpPr/>
            <p:nvPr/>
          </p:nvSpPr>
          <p:spPr>
            <a:xfrm>
              <a:off x="2815080" y="1952045"/>
              <a:ext cx="2818846" cy="2806017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  <a:alpha val="60000"/>
                  </a:schemeClr>
                </a:gs>
                <a:gs pos="100000">
                  <a:schemeClr val="accent1">
                    <a:tint val="23500"/>
                    <a:satMod val="160000"/>
                    <a:alpha val="50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Freeform 42"/>
            <p:cNvSpPr/>
            <p:nvPr/>
          </p:nvSpPr>
          <p:spPr>
            <a:xfrm>
              <a:off x="2816634" y="1380572"/>
              <a:ext cx="3626701" cy="574116"/>
            </a:xfrm>
            <a:custGeom>
              <a:avLst/>
              <a:gdLst>
                <a:gd name="connsiteX0" fmla="*/ 0 w 3227943"/>
                <a:gd name="connsiteY0" fmla="*/ 0 h 1219200"/>
                <a:gd name="connsiteX1" fmla="*/ 3227943 w 3227943"/>
                <a:gd name="connsiteY1" fmla="*/ 0 h 1219200"/>
                <a:gd name="connsiteX2" fmla="*/ 3227943 w 3227943"/>
                <a:gd name="connsiteY2" fmla="*/ 1219200 h 1219200"/>
                <a:gd name="connsiteX3" fmla="*/ 0 w 3227943"/>
                <a:gd name="connsiteY3" fmla="*/ 1219200 h 1219200"/>
                <a:gd name="connsiteX4" fmla="*/ 0 w 3227943"/>
                <a:gd name="connsiteY4" fmla="*/ 0 h 1219200"/>
                <a:gd name="connsiteX0" fmla="*/ 0 w 4131326"/>
                <a:gd name="connsiteY0" fmla="*/ 20549 h 1239749"/>
                <a:gd name="connsiteX1" fmla="*/ 4131326 w 4131326"/>
                <a:gd name="connsiteY1" fmla="*/ 0 h 1239749"/>
                <a:gd name="connsiteX2" fmla="*/ 3227943 w 4131326"/>
                <a:gd name="connsiteY2" fmla="*/ 1239749 h 1239749"/>
                <a:gd name="connsiteX3" fmla="*/ 0 w 4131326"/>
                <a:gd name="connsiteY3" fmla="*/ 1239749 h 1239749"/>
                <a:gd name="connsiteX4" fmla="*/ 0 w 4131326"/>
                <a:gd name="connsiteY4" fmla="*/ 20549 h 1239749"/>
                <a:gd name="connsiteX0" fmla="*/ 0 w 4173945"/>
                <a:gd name="connsiteY0" fmla="*/ 31483 h 1250683"/>
                <a:gd name="connsiteX1" fmla="*/ 4173945 w 4173945"/>
                <a:gd name="connsiteY1" fmla="*/ 0 h 1250683"/>
                <a:gd name="connsiteX2" fmla="*/ 3227943 w 4173945"/>
                <a:gd name="connsiteY2" fmla="*/ 1250683 h 1250683"/>
                <a:gd name="connsiteX3" fmla="*/ 0 w 4173945"/>
                <a:gd name="connsiteY3" fmla="*/ 1250683 h 1250683"/>
                <a:gd name="connsiteX4" fmla="*/ 0 w 4173945"/>
                <a:gd name="connsiteY4" fmla="*/ 31483 h 1250683"/>
                <a:gd name="connsiteX0" fmla="*/ 988280 w 4173945"/>
                <a:gd name="connsiteY0" fmla="*/ 13261 h 1250683"/>
                <a:gd name="connsiteX1" fmla="*/ 4173945 w 4173945"/>
                <a:gd name="connsiteY1" fmla="*/ 0 h 1250683"/>
                <a:gd name="connsiteX2" fmla="*/ 3227943 w 4173945"/>
                <a:gd name="connsiteY2" fmla="*/ 1250683 h 1250683"/>
                <a:gd name="connsiteX3" fmla="*/ 0 w 4173945"/>
                <a:gd name="connsiteY3" fmla="*/ 1250683 h 1250683"/>
                <a:gd name="connsiteX4" fmla="*/ 988280 w 4173945"/>
                <a:gd name="connsiteY4" fmla="*/ 13261 h 1250683"/>
                <a:gd name="connsiteX0" fmla="*/ 964834 w 4173945"/>
                <a:gd name="connsiteY0" fmla="*/ 0 h 1259287"/>
                <a:gd name="connsiteX1" fmla="*/ 4173945 w 4173945"/>
                <a:gd name="connsiteY1" fmla="*/ 8604 h 1259287"/>
                <a:gd name="connsiteX2" fmla="*/ 3227943 w 4173945"/>
                <a:gd name="connsiteY2" fmla="*/ 1259287 h 1259287"/>
                <a:gd name="connsiteX3" fmla="*/ 0 w 4173945"/>
                <a:gd name="connsiteY3" fmla="*/ 1259287 h 1259287"/>
                <a:gd name="connsiteX4" fmla="*/ 964834 w 4173945"/>
                <a:gd name="connsiteY4" fmla="*/ 0 h 1259287"/>
                <a:gd name="connsiteX0" fmla="*/ 964834 w 4147484"/>
                <a:gd name="connsiteY0" fmla="*/ 0 h 1259287"/>
                <a:gd name="connsiteX1" fmla="*/ 4147484 w 4147484"/>
                <a:gd name="connsiteY1" fmla="*/ 46510 h 1259287"/>
                <a:gd name="connsiteX2" fmla="*/ 3227943 w 4147484"/>
                <a:gd name="connsiteY2" fmla="*/ 1259287 h 1259287"/>
                <a:gd name="connsiteX3" fmla="*/ 0 w 4147484"/>
                <a:gd name="connsiteY3" fmla="*/ 1259287 h 1259287"/>
                <a:gd name="connsiteX4" fmla="*/ 964834 w 4147484"/>
                <a:gd name="connsiteY4" fmla="*/ 0 h 1259287"/>
                <a:gd name="connsiteX0" fmla="*/ 921543 w 4147484"/>
                <a:gd name="connsiteY0" fmla="*/ 0 h 1226670"/>
                <a:gd name="connsiteX1" fmla="*/ 4147484 w 4147484"/>
                <a:gd name="connsiteY1" fmla="*/ 13893 h 1226670"/>
                <a:gd name="connsiteX2" fmla="*/ 3227943 w 4147484"/>
                <a:gd name="connsiteY2" fmla="*/ 1226670 h 1226670"/>
                <a:gd name="connsiteX3" fmla="*/ 0 w 4147484"/>
                <a:gd name="connsiteY3" fmla="*/ 1226670 h 1226670"/>
                <a:gd name="connsiteX4" fmla="*/ 921543 w 4147484"/>
                <a:gd name="connsiteY4" fmla="*/ 0 h 1226670"/>
                <a:gd name="connsiteX0" fmla="*/ 932013 w 4147484"/>
                <a:gd name="connsiteY0" fmla="*/ 2855 h 1212776"/>
                <a:gd name="connsiteX1" fmla="*/ 4147484 w 4147484"/>
                <a:gd name="connsiteY1" fmla="*/ -1 h 1212776"/>
                <a:gd name="connsiteX2" fmla="*/ 3227943 w 4147484"/>
                <a:gd name="connsiteY2" fmla="*/ 1212776 h 1212776"/>
                <a:gd name="connsiteX3" fmla="*/ 0 w 4147484"/>
                <a:gd name="connsiteY3" fmla="*/ 1212776 h 1212776"/>
                <a:gd name="connsiteX4" fmla="*/ 932013 w 4147484"/>
                <a:gd name="connsiteY4" fmla="*/ 2855 h 1212776"/>
                <a:gd name="connsiteX0" fmla="*/ 932013 w 4147484"/>
                <a:gd name="connsiteY0" fmla="*/ 2857 h 1239721"/>
                <a:gd name="connsiteX1" fmla="*/ 4147484 w 4147484"/>
                <a:gd name="connsiteY1" fmla="*/ 1 h 1239721"/>
                <a:gd name="connsiteX2" fmla="*/ 3217625 w 4147484"/>
                <a:gd name="connsiteY2" fmla="*/ 1239721 h 1239721"/>
                <a:gd name="connsiteX3" fmla="*/ 0 w 4147484"/>
                <a:gd name="connsiteY3" fmla="*/ 1212778 h 1239721"/>
                <a:gd name="connsiteX4" fmla="*/ 932013 w 4147484"/>
                <a:gd name="connsiteY4" fmla="*/ 2857 h 1239721"/>
                <a:gd name="connsiteX0" fmla="*/ 937569 w 4153040"/>
                <a:gd name="connsiteY0" fmla="*/ 2855 h 1239719"/>
                <a:gd name="connsiteX1" fmla="*/ 4153040 w 4153040"/>
                <a:gd name="connsiteY1" fmla="*/ -1 h 1239719"/>
                <a:gd name="connsiteX2" fmla="*/ 3223181 w 4153040"/>
                <a:gd name="connsiteY2" fmla="*/ 1239719 h 1239719"/>
                <a:gd name="connsiteX3" fmla="*/ 0 w 4153040"/>
                <a:gd name="connsiteY3" fmla="*/ 1239719 h 1239719"/>
                <a:gd name="connsiteX4" fmla="*/ 937569 w 4153040"/>
                <a:gd name="connsiteY4" fmla="*/ 2855 h 1239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3040" h="1239719">
                  <a:moveTo>
                    <a:pt x="937569" y="2855"/>
                  </a:moveTo>
                  <a:lnTo>
                    <a:pt x="4153040" y="-1"/>
                  </a:lnTo>
                  <a:lnTo>
                    <a:pt x="3223181" y="1239719"/>
                  </a:lnTo>
                  <a:lnTo>
                    <a:pt x="0" y="1239719"/>
                  </a:lnTo>
                  <a:lnTo>
                    <a:pt x="937569" y="2855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60000"/>
                    <a:lumOff val="40000"/>
                    <a:alpha val="60000"/>
                  </a:schemeClr>
                </a:gs>
                <a:gs pos="100000">
                  <a:schemeClr val="accent1">
                    <a:tint val="23500"/>
                    <a:satMod val="160000"/>
                    <a:alpha val="50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0" name="Cube 49"/>
          <p:cNvSpPr/>
          <p:nvPr/>
        </p:nvSpPr>
        <p:spPr>
          <a:xfrm flipH="1">
            <a:off x="4255896" y="4274776"/>
            <a:ext cx="810408" cy="810408"/>
          </a:xfrm>
          <a:prstGeom prst="cub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Cube 54"/>
          <p:cNvSpPr/>
          <p:nvPr/>
        </p:nvSpPr>
        <p:spPr>
          <a:xfrm flipH="1">
            <a:off x="4975976" y="3645024"/>
            <a:ext cx="720080" cy="720080"/>
          </a:xfrm>
          <a:prstGeom prst="cub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Cube 67"/>
          <p:cNvSpPr/>
          <p:nvPr/>
        </p:nvSpPr>
        <p:spPr>
          <a:xfrm flipH="1">
            <a:off x="3967864" y="3356992"/>
            <a:ext cx="720080" cy="720080"/>
          </a:xfrm>
          <a:prstGeom prst="cub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Cube 45"/>
          <p:cNvSpPr/>
          <p:nvPr/>
        </p:nvSpPr>
        <p:spPr>
          <a:xfrm flipH="1">
            <a:off x="4237576" y="3594627"/>
            <a:ext cx="810408" cy="810408"/>
          </a:xfrm>
          <a:prstGeom prst="cub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Cube 48"/>
          <p:cNvSpPr/>
          <p:nvPr/>
        </p:nvSpPr>
        <p:spPr>
          <a:xfrm flipH="1">
            <a:off x="4237576" y="2924944"/>
            <a:ext cx="810408" cy="810408"/>
          </a:xfrm>
          <a:prstGeom prst="cube">
            <a:avLst/>
          </a:prstGeom>
          <a:ln>
            <a:solidFill>
              <a:schemeClr val="tx1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Cube 53"/>
          <p:cNvSpPr/>
          <p:nvPr/>
        </p:nvSpPr>
        <p:spPr>
          <a:xfrm flipH="1">
            <a:off x="3607824" y="3645024"/>
            <a:ext cx="720080" cy="720080"/>
          </a:xfrm>
          <a:prstGeom prst="cub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Cube 55"/>
          <p:cNvSpPr/>
          <p:nvPr/>
        </p:nvSpPr>
        <p:spPr>
          <a:xfrm flipH="1">
            <a:off x="4543928" y="3861048"/>
            <a:ext cx="792088" cy="792088"/>
          </a:xfrm>
          <a:prstGeom prst="cub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Title 3"/>
          <p:cNvSpPr txBox="1">
            <a:spLocks/>
          </p:cNvSpPr>
          <p:nvPr/>
        </p:nvSpPr>
        <p:spPr>
          <a:xfrm>
            <a:off x="0" y="922710"/>
            <a:ext cx="9144000" cy="634082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US" sz="2800" b="1" dirty="0"/>
              <a:t>Lu &amp; Hamilton </a:t>
            </a:r>
            <a:r>
              <a:rPr lang="en-US" sz="2800" b="1" dirty="0" smtClean="0"/>
              <a:t>Model (1991</a:t>
            </a:r>
            <a:r>
              <a:rPr lang="en-US" sz="2800" b="1" dirty="0"/>
              <a:t>)</a:t>
            </a:r>
          </a:p>
        </p:txBody>
      </p:sp>
      <p:sp>
        <p:nvSpPr>
          <p:cNvPr id="23" name="Title 3"/>
          <p:cNvSpPr txBox="1">
            <a:spLocks/>
          </p:cNvSpPr>
          <p:nvPr/>
        </p:nvSpPr>
        <p:spPr>
          <a:xfrm>
            <a:off x="36512" y="6251302"/>
            <a:ext cx="9144000" cy="634082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endParaRPr lang="fi-FI" sz="1100" dirty="0" smtClean="0"/>
          </a:p>
          <a:p>
            <a:pPr algn="l" rtl="0"/>
            <a:r>
              <a:rPr lang="fi-FI" sz="1100" dirty="0" smtClean="0"/>
              <a:t>1</a:t>
            </a:r>
            <a:r>
              <a:rPr lang="fi-FI" sz="1100" dirty="0"/>
              <a:t>. Lu, E. T. &amp; Hamilton, R. J. 1991, ApJ, 380, L89</a:t>
            </a:r>
          </a:p>
          <a:p>
            <a:pPr algn="l" rtl="0"/>
            <a:r>
              <a:rPr lang="sv-SE" sz="1100" dirty="0"/>
              <a:t>2. Lu, E. T., Hamilton, R. J., McTiernan, J. M., &amp; Bromund, K. </a:t>
            </a:r>
            <a:r>
              <a:rPr lang="nl-NL" sz="1100" dirty="0"/>
              <a:t>R. 1993, ApJ, 412, 841</a:t>
            </a:r>
            <a:endParaRPr lang="en-US" sz="1100" dirty="0"/>
          </a:p>
          <a:p>
            <a:pPr algn="l" rtl="0"/>
            <a:endParaRPr lang="en-US" sz="1100" dirty="0"/>
          </a:p>
        </p:txBody>
      </p:sp>
      <p:cxnSp>
        <p:nvCxnSpPr>
          <p:cNvPr id="24" name="Straight Connector 23"/>
          <p:cNvCxnSpPr/>
          <p:nvPr/>
        </p:nvCxnSpPr>
        <p:spPr>
          <a:xfrm>
            <a:off x="108520" y="6309320"/>
            <a:ext cx="3959424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6" name="Title 3"/>
          <p:cNvSpPr txBox="1">
            <a:spLocks/>
          </p:cNvSpPr>
          <p:nvPr/>
        </p:nvSpPr>
        <p:spPr>
          <a:xfrm>
            <a:off x="36512" y="-13394"/>
            <a:ext cx="9144000" cy="922114"/>
          </a:xfrm>
          <a:prstGeom prst="rect">
            <a:avLst/>
          </a:prstGeom>
        </p:spPr>
        <p:txBody>
          <a:bodyPr vert="horz" lIns="91440" tIns="45720" rIns="91440" bIns="45720" numCol="2" rtlCol="0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>
                    <a:lumMod val="65000"/>
                  </a:schemeClr>
                </a:solidFill>
              </a:rPr>
              <a:t>Solar </a:t>
            </a: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Flares </a:t>
            </a:r>
          </a:p>
          <a:p>
            <a:pPr marL="285750" indent="-285750" algn="l" rtl="0">
              <a:buFont typeface="Wingdings" pitchFamily="2" charset="2"/>
              <a:buChar char="Ø"/>
            </a:pPr>
            <a:r>
              <a:rPr lang="en-US" sz="1400" dirty="0"/>
              <a:t>Cellular Automaton Avalanche Models</a:t>
            </a:r>
          </a:p>
          <a:p>
            <a:pPr marL="285750" indent="-28575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>
                    <a:lumMod val="65000"/>
                  </a:schemeClr>
                </a:solidFill>
              </a:rPr>
              <a:t>The </a:t>
            </a: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Optimized Model</a:t>
            </a:r>
          </a:p>
          <a:p>
            <a:pPr marL="285750" indent="-28575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What is next ?</a:t>
            </a:r>
          </a:p>
          <a:p>
            <a:pPr algn="l" rtl="0">
              <a:lnSpc>
                <a:spcPct val="120000"/>
              </a:lnSpc>
            </a:pPr>
            <a:endParaRPr lang="fa-IR" sz="14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919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/>
          <p:cNvSpPr/>
          <p:nvPr/>
        </p:nvSpPr>
        <p:spPr>
          <a:xfrm>
            <a:off x="-14513" y="4797152"/>
            <a:ext cx="9171432" cy="2062535"/>
          </a:xfrm>
          <a:prstGeom prst="rect">
            <a:avLst/>
          </a:prstGeom>
          <a:gradFill>
            <a:gsLst>
              <a:gs pos="0">
                <a:srgbClr val="00B0F0">
                  <a:alpha val="65000"/>
                </a:srgbClr>
              </a:gs>
              <a:gs pos="50000">
                <a:srgbClr val="00AAE6">
                  <a:alpha val="31000"/>
                </a:srgbClr>
              </a:gs>
              <a:gs pos="100000">
                <a:srgbClr val="00B0F0">
                  <a:alpha val="0"/>
                </a:srgbClr>
              </a:gs>
            </a:gsLst>
            <a:lin ang="162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7" name="Group 26"/>
          <p:cNvGrpSpPr/>
          <p:nvPr/>
        </p:nvGrpSpPr>
        <p:grpSpPr>
          <a:xfrm>
            <a:off x="827584" y="1916832"/>
            <a:ext cx="4392488" cy="3911587"/>
            <a:chOff x="2591294" y="1784244"/>
            <a:chExt cx="3996270" cy="3558747"/>
          </a:xfrm>
        </p:grpSpPr>
        <p:cxnSp>
          <p:nvCxnSpPr>
            <p:cNvPr id="44" name="Straight Arrow Connector 43"/>
            <p:cNvCxnSpPr/>
            <p:nvPr/>
          </p:nvCxnSpPr>
          <p:spPr>
            <a:xfrm flipH="1" flipV="1">
              <a:off x="3639496" y="1784244"/>
              <a:ext cx="761" cy="2785952"/>
            </a:xfrm>
            <a:prstGeom prst="straightConnector1">
              <a:avLst/>
            </a:prstGeom>
            <a:ln w="38100" cap="rnd">
              <a:gradFill>
                <a:gsLst>
                  <a:gs pos="0">
                    <a:schemeClr val="bg1">
                      <a:lumMod val="65000"/>
                    </a:schemeClr>
                  </a:gs>
                  <a:gs pos="99000">
                    <a:schemeClr val="tx1">
                      <a:lumMod val="85000"/>
                      <a:lumOff val="15000"/>
                    </a:schemeClr>
                  </a:gs>
                </a:gsLst>
                <a:lin ang="5400000" scaled="0"/>
              </a:gradFill>
              <a:beve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/>
            <p:cNvCxnSpPr/>
            <p:nvPr/>
          </p:nvCxnSpPr>
          <p:spPr>
            <a:xfrm flipH="1">
              <a:off x="2591294" y="4604063"/>
              <a:ext cx="1048202" cy="738928"/>
            </a:xfrm>
            <a:prstGeom prst="straightConnector1">
              <a:avLst/>
            </a:prstGeom>
            <a:ln w="38100" cap="rnd">
              <a:gradFill>
                <a:gsLst>
                  <a:gs pos="0">
                    <a:schemeClr val="bg1">
                      <a:lumMod val="65000"/>
                    </a:schemeClr>
                  </a:gs>
                  <a:gs pos="99000">
                    <a:schemeClr val="tx1">
                      <a:lumMod val="85000"/>
                      <a:lumOff val="15000"/>
                    </a:schemeClr>
                  </a:gs>
                </a:gsLst>
                <a:lin ang="5400000" scaled="0"/>
              </a:gradFill>
              <a:beve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/>
            <p:cNvCxnSpPr/>
            <p:nvPr/>
          </p:nvCxnSpPr>
          <p:spPr>
            <a:xfrm>
              <a:off x="3670589" y="4602874"/>
              <a:ext cx="2916975" cy="1189"/>
            </a:xfrm>
            <a:prstGeom prst="straightConnector1">
              <a:avLst/>
            </a:prstGeom>
            <a:ln w="38100" cap="rnd">
              <a:gradFill>
                <a:gsLst>
                  <a:gs pos="0">
                    <a:schemeClr val="bg1">
                      <a:lumMod val="65000"/>
                    </a:schemeClr>
                  </a:gs>
                  <a:gs pos="99000">
                    <a:schemeClr val="tx1">
                      <a:lumMod val="85000"/>
                      <a:lumOff val="15000"/>
                    </a:schemeClr>
                  </a:gs>
                </a:gsLst>
                <a:lin ang="5400000" scaled="0"/>
              </a:gradFill>
              <a:beve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53"/>
          <p:cNvGrpSpPr/>
          <p:nvPr/>
        </p:nvGrpSpPr>
        <p:grpSpPr>
          <a:xfrm>
            <a:off x="1189527" y="2337970"/>
            <a:ext cx="3505597" cy="3263516"/>
            <a:chOff x="2815080" y="1371600"/>
            <a:chExt cx="3637664" cy="3386462"/>
          </a:xfrm>
        </p:grpSpPr>
        <p:sp>
          <p:nvSpPr>
            <p:cNvPr id="36" name="Freeform 35"/>
            <p:cNvSpPr/>
            <p:nvPr/>
          </p:nvSpPr>
          <p:spPr>
            <a:xfrm>
              <a:off x="2821876" y="1371600"/>
              <a:ext cx="819298" cy="3386462"/>
            </a:xfrm>
            <a:custGeom>
              <a:avLst/>
              <a:gdLst>
                <a:gd name="connsiteX0" fmla="*/ 0 w 925417"/>
                <a:gd name="connsiteY0" fmla="*/ 0 h 3213253"/>
                <a:gd name="connsiteX1" fmla="*/ 925417 w 925417"/>
                <a:gd name="connsiteY1" fmla="*/ 0 h 3213253"/>
                <a:gd name="connsiteX2" fmla="*/ 925417 w 925417"/>
                <a:gd name="connsiteY2" fmla="*/ 3213253 h 3213253"/>
                <a:gd name="connsiteX3" fmla="*/ 0 w 925417"/>
                <a:gd name="connsiteY3" fmla="*/ 3213253 h 3213253"/>
                <a:gd name="connsiteX4" fmla="*/ 0 w 925417"/>
                <a:gd name="connsiteY4" fmla="*/ 0 h 3213253"/>
                <a:gd name="connsiteX0" fmla="*/ 0 w 938022"/>
                <a:gd name="connsiteY0" fmla="*/ 664684 h 3877937"/>
                <a:gd name="connsiteX1" fmla="*/ 938022 w 938022"/>
                <a:gd name="connsiteY1" fmla="*/ 0 h 3877937"/>
                <a:gd name="connsiteX2" fmla="*/ 925417 w 938022"/>
                <a:gd name="connsiteY2" fmla="*/ 3877937 h 3877937"/>
                <a:gd name="connsiteX3" fmla="*/ 0 w 938022"/>
                <a:gd name="connsiteY3" fmla="*/ 3877937 h 3877937"/>
                <a:gd name="connsiteX4" fmla="*/ 0 w 938022"/>
                <a:gd name="connsiteY4" fmla="*/ 664684 h 3877937"/>
                <a:gd name="connsiteX0" fmla="*/ 0 w 942224"/>
                <a:gd name="connsiteY0" fmla="*/ 664684 h 3877937"/>
                <a:gd name="connsiteX1" fmla="*/ 938022 w 942224"/>
                <a:gd name="connsiteY1" fmla="*/ 0 h 3877937"/>
                <a:gd name="connsiteX2" fmla="*/ 938022 w 942224"/>
                <a:gd name="connsiteY2" fmla="*/ 3185710 h 3877937"/>
                <a:gd name="connsiteX3" fmla="*/ 0 w 942224"/>
                <a:gd name="connsiteY3" fmla="*/ 3877937 h 3877937"/>
                <a:gd name="connsiteX4" fmla="*/ 0 w 942224"/>
                <a:gd name="connsiteY4" fmla="*/ 664684 h 3877937"/>
                <a:gd name="connsiteX0" fmla="*/ 0 w 938202"/>
                <a:gd name="connsiteY0" fmla="*/ 664684 h 3877937"/>
                <a:gd name="connsiteX1" fmla="*/ 938022 w 938202"/>
                <a:gd name="connsiteY1" fmla="*/ 0 h 3877937"/>
                <a:gd name="connsiteX2" fmla="*/ 934000 w 938202"/>
                <a:gd name="connsiteY2" fmla="*/ 3217031 h 3877937"/>
                <a:gd name="connsiteX3" fmla="*/ 0 w 938202"/>
                <a:gd name="connsiteY3" fmla="*/ 3877937 h 3877937"/>
                <a:gd name="connsiteX4" fmla="*/ 0 w 938202"/>
                <a:gd name="connsiteY4" fmla="*/ 664684 h 3877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8202" h="3877937">
                  <a:moveTo>
                    <a:pt x="0" y="664684"/>
                  </a:moveTo>
                  <a:lnTo>
                    <a:pt x="938022" y="0"/>
                  </a:lnTo>
                  <a:cubicBezTo>
                    <a:pt x="933820" y="1292646"/>
                    <a:pt x="938202" y="1924385"/>
                    <a:pt x="934000" y="3217031"/>
                  </a:cubicBezTo>
                  <a:lnTo>
                    <a:pt x="0" y="3877937"/>
                  </a:lnTo>
                  <a:lnTo>
                    <a:pt x="0" y="664684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60000"/>
                    <a:lumOff val="40000"/>
                    <a:alpha val="60000"/>
                  </a:schemeClr>
                </a:gs>
                <a:gs pos="100000">
                  <a:schemeClr val="accent1">
                    <a:tint val="23500"/>
                    <a:satMod val="160000"/>
                    <a:alpha val="5000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3632352" y="1374806"/>
              <a:ext cx="2818846" cy="2806017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60000"/>
                    <a:lumOff val="40000"/>
                    <a:alpha val="60000"/>
                  </a:schemeClr>
                </a:gs>
                <a:gs pos="100000">
                  <a:schemeClr val="accent1">
                    <a:tint val="23500"/>
                    <a:satMod val="160000"/>
                    <a:alpha val="5000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Freeform 37"/>
            <p:cNvSpPr/>
            <p:nvPr/>
          </p:nvSpPr>
          <p:spPr>
            <a:xfrm>
              <a:off x="2816634" y="4179730"/>
              <a:ext cx="3626701" cy="574116"/>
            </a:xfrm>
            <a:custGeom>
              <a:avLst/>
              <a:gdLst>
                <a:gd name="connsiteX0" fmla="*/ 0 w 3227943"/>
                <a:gd name="connsiteY0" fmla="*/ 0 h 1219200"/>
                <a:gd name="connsiteX1" fmla="*/ 3227943 w 3227943"/>
                <a:gd name="connsiteY1" fmla="*/ 0 h 1219200"/>
                <a:gd name="connsiteX2" fmla="*/ 3227943 w 3227943"/>
                <a:gd name="connsiteY2" fmla="*/ 1219200 h 1219200"/>
                <a:gd name="connsiteX3" fmla="*/ 0 w 3227943"/>
                <a:gd name="connsiteY3" fmla="*/ 1219200 h 1219200"/>
                <a:gd name="connsiteX4" fmla="*/ 0 w 3227943"/>
                <a:gd name="connsiteY4" fmla="*/ 0 h 1219200"/>
                <a:gd name="connsiteX0" fmla="*/ 0 w 4131326"/>
                <a:gd name="connsiteY0" fmla="*/ 20549 h 1239749"/>
                <a:gd name="connsiteX1" fmla="*/ 4131326 w 4131326"/>
                <a:gd name="connsiteY1" fmla="*/ 0 h 1239749"/>
                <a:gd name="connsiteX2" fmla="*/ 3227943 w 4131326"/>
                <a:gd name="connsiteY2" fmla="*/ 1239749 h 1239749"/>
                <a:gd name="connsiteX3" fmla="*/ 0 w 4131326"/>
                <a:gd name="connsiteY3" fmla="*/ 1239749 h 1239749"/>
                <a:gd name="connsiteX4" fmla="*/ 0 w 4131326"/>
                <a:gd name="connsiteY4" fmla="*/ 20549 h 1239749"/>
                <a:gd name="connsiteX0" fmla="*/ 0 w 4173945"/>
                <a:gd name="connsiteY0" fmla="*/ 31483 h 1250683"/>
                <a:gd name="connsiteX1" fmla="*/ 4173945 w 4173945"/>
                <a:gd name="connsiteY1" fmla="*/ 0 h 1250683"/>
                <a:gd name="connsiteX2" fmla="*/ 3227943 w 4173945"/>
                <a:gd name="connsiteY2" fmla="*/ 1250683 h 1250683"/>
                <a:gd name="connsiteX3" fmla="*/ 0 w 4173945"/>
                <a:gd name="connsiteY3" fmla="*/ 1250683 h 1250683"/>
                <a:gd name="connsiteX4" fmla="*/ 0 w 4173945"/>
                <a:gd name="connsiteY4" fmla="*/ 31483 h 1250683"/>
                <a:gd name="connsiteX0" fmla="*/ 988280 w 4173945"/>
                <a:gd name="connsiteY0" fmla="*/ 13261 h 1250683"/>
                <a:gd name="connsiteX1" fmla="*/ 4173945 w 4173945"/>
                <a:gd name="connsiteY1" fmla="*/ 0 h 1250683"/>
                <a:gd name="connsiteX2" fmla="*/ 3227943 w 4173945"/>
                <a:gd name="connsiteY2" fmla="*/ 1250683 h 1250683"/>
                <a:gd name="connsiteX3" fmla="*/ 0 w 4173945"/>
                <a:gd name="connsiteY3" fmla="*/ 1250683 h 1250683"/>
                <a:gd name="connsiteX4" fmla="*/ 988280 w 4173945"/>
                <a:gd name="connsiteY4" fmla="*/ 13261 h 1250683"/>
                <a:gd name="connsiteX0" fmla="*/ 964834 w 4173945"/>
                <a:gd name="connsiteY0" fmla="*/ 0 h 1259287"/>
                <a:gd name="connsiteX1" fmla="*/ 4173945 w 4173945"/>
                <a:gd name="connsiteY1" fmla="*/ 8604 h 1259287"/>
                <a:gd name="connsiteX2" fmla="*/ 3227943 w 4173945"/>
                <a:gd name="connsiteY2" fmla="*/ 1259287 h 1259287"/>
                <a:gd name="connsiteX3" fmla="*/ 0 w 4173945"/>
                <a:gd name="connsiteY3" fmla="*/ 1259287 h 1259287"/>
                <a:gd name="connsiteX4" fmla="*/ 964834 w 4173945"/>
                <a:gd name="connsiteY4" fmla="*/ 0 h 1259287"/>
                <a:gd name="connsiteX0" fmla="*/ 964834 w 4147484"/>
                <a:gd name="connsiteY0" fmla="*/ 0 h 1259287"/>
                <a:gd name="connsiteX1" fmla="*/ 4147484 w 4147484"/>
                <a:gd name="connsiteY1" fmla="*/ 46510 h 1259287"/>
                <a:gd name="connsiteX2" fmla="*/ 3227943 w 4147484"/>
                <a:gd name="connsiteY2" fmla="*/ 1259287 h 1259287"/>
                <a:gd name="connsiteX3" fmla="*/ 0 w 4147484"/>
                <a:gd name="connsiteY3" fmla="*/ 1259287 h 1259287"/>
                <a:gd name="connsiteX4" fmla="*/ 964834 w 4147484"/>
                <a:gd name="connsiteY4" fmla="*/ 0 h 1259287"/>
                <a:gd name="connsiteX0" fmla="*/ 921543 w 4147484"/>
                <a:gd name="connsiteY0" fmla="*/ 0 h 1226670"/>
                <a:gd name="connsiteX1" fmla="*/ 4147484 w 4147484"/>
                <a:gd name="connsiteY1" fmla="*/ 13893 h 1226670"/>
                <a:gd name="connsiteX2" fmla="*/ 3227943 w 4147484"/>
                <a:gd name="connsiteY2" fmla="*/ 1226670 h 1226670"/>
                <a:gd name="connsiteX3" fmla="*/ 0 w 4147484"/>
                <a:gd name="connsiteY3" fmla="*/ 1226670 h 1226670"/>
                <a:gd name="connsiteX4" fmla="*/ 921543 w 4147484"/>
                <a:gd name="connsiteY4" fmla="*/ 0 h 1226670"/>
                <a:gd name="connsiteX0" fmla="*/ 932013 w 4147484"/>
                <a:gd name="connsiteY0" fmla="*/ 2855 h 1212776"/>
                <a:gd name="connsiteX1" fmla="*/ 4147484 w 4147484"/>
                <a:gd name="connsiteY1" fmla="*/ -1 h 1212776"/>
                <a:gd name="connsiteX2" fmla="*/ 3227943 w 4147484"/>
                <a:gd name="connsiteY2" fmla="*/ 1212776 h 1212776"/>
                <a:gd name="connsiteX3" fmla="*/ 0 w 4147484"/>
                <a:gd name="connsiteY3" fmla="*/ 1212776 h 1212776"/>
                <a:gd name="connsiteX4" fmla="*/ 932013 w 4147484"/>
                <a:gd name="connsiteY4" fmla="*/ 2855 h 1212776"/>
                <a:gd name="connsiteX0" fmla="*/ 932013 w 4147484"/>
                <a:gd name="connsiteY0" fmla="*/ 2857 h 1239721"/>
                <a:gd name="connsiteX1" fmla="*/ 4147484 w 4147484"/>
                <a:gd name="connsiteY1" fmla="*/ 1 h 1239721"/>
                <a:gd name="connsiteX2" fmla="*/ 3217625 w 4147484"/>
                <a:gd name="connsiteY2" fmla="*/ 1239721 h 1239721"/>
                <a:gd name="connsiteX3" fmla="*/ 0 w 4147484"/>
                <a:gd name="connsiteY3" fmla="*/ 1212778 h 1239721"/>
                <a:gd name="connsiteX4" fmla="*/ 932013 w 4147484"/>
                <a:gd name="connsiteY4" fmla="*/ 2857 h 1239721"/>
                <a:gd name="connsiteX0" fmla="*/ 937569 w 4153040"/>
                <a:gd name="connsiteY0" fmla="*/ 2855 h 1239719"/>
                <a:gd name="connsiteX1" fmla="*/ 4153040 w 4153040"/>
                <a:gd name="connsiteY1" fmla="*/ -1 h 1239719"/>
                <a:gd name="connsiteX2" fmla="*/ 3223181 w 4153040"/>
                <a:gd name="connsiteY2" fmla="*/ 1239719 h 1239719"/>
                <a:gd name="connsiteX3" fmla="*/ 0 w 4153040"/>
                <a:gd name="connsiteY3" fmla="*/ 1239719 h 1239719"/>
                <a:gd name="connsiteX4" fmla="*/ 937569 w 4153040"/>
                <a:gd name="connsiteY4" fmla="*/ 2855 h 1239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3040" h="1239719">
                  <a:moveTo>
                    <a:pt x="937569" y="2855"/>
                  </a:moveTo>
                  <a:lnTo>
                    <a:pt x="4153040" y="-1"/>
                  </a:lnTo>
                  <a:lnTo>
                    <a:pt x="3223181" y="1239719"/>
                  </a:lnTo>
                  <a:lnTo>
                    <a:pt x="0" y="1239719"/>
                  </a:lnTo>
                  <a:lnTo>
                    <a:pt x="937569" y="2855"/>
                  </a:lnTo>
                  <a:close/>
                </a:path>
              </a:pathLst>
            </a:custGeom>
            <a:gradFill>
              <a:gsLst>
                <a:gs pos="0">
                  <a:schemeClr val="tx2">
                    <a:lumMod val="60000"/>
                    <a:lumOff val="40000"/>
                    <a:alpha val="60000"/>
                  </a:schemeClr>
                </a:gs>
                <a:gs pos="100000">
                  <a:schemeClr val="accent1">
                    <a:tint val="23500"/>
                    <a:satMod val="160000"/>
                    <a:alpha val="50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Freeform 38"/>
            <p:cNvSpPr/>
            <p:nvPr/>
          </p:nvSpPr>
          <p:spPr>
            <a:xfrm>
              <a:off x="5633446" y="1371600"/>
              <a:ext cx="819298" cy="3386462"/>
            </a:xfrm>
            <a:custGeom>
              <a:avLst/>
              <a:gdLst>
                <a:gd name="connsiteX0" fmla="*/ 0 w 925417"/>
                <a:gd name="connsiteY0" fmla="*/ 0 h 3213253"/>
                <a:gd name="connsiteX1" fmla="*/ 925417 w 925417"/>
                <a:gd name="connsiteY1" fmla="*/ 0 h 3213253"/>
                <a:gd name="connsiteX2" fmla="*/ 925417 w 925417"/>
                <a:gd name="connsiteY2" fmla="*/ 3213253 h 3213253"/>
                <a:gd name="connsiteX3" fmla="*/ 0 w 925417"/>
                <a:gd name="connsiteY3" fmla="*/ 3213253 h 3213253"/>
                <a:gd name="connsiteX4" fmla="*/ 0 w 925417"/>
                <a:gd name="connsiteY4" fmla="*/ 0 h 3213253"/>
                <a:gd name="connsiteX0" fmla="*/ 0 w 938022"/>
                <a:gd name="connsiteY0" fmla="*/ 664684 h 3877937"/>
                <a:gd name="connsiteX1" fmla="*/ 938022 w 938022"/>
                <a:gd name="connsiteY1" fmla="*/ 0 h 3877937"/>
                <a:gd name="connsiteX2" fmla="*/ 925417 w 938022"/>
                <a:gd name="connsiteY2" fmla="*/ 3877937 h 3877937"/>
                <a:gd name="connsiteX3" fmla="*/ 0 w 938022"/>
                <a:gd name="connsiteY3" fmla="*/ 3877937 h 3877937"/>
                <a:gd name="connsiteX4" fmla="*/ 0 w 938022"/>
                <a:gd name="connsiteY4" fmla="*/ 664684 h 3877937"/>
                <a:gd name="connsiteX0" fmla="*/ 0 w 942224"/>
                <a:gd name="connsiteY0" fmla="*/ 664684 h 3877937"/>
                <a:gd name="connsiteX1" fmla="*/ 938022 w 942224"/>
                <a:gd name="connsiteY1" fmla="*/ 0 h 3877937"/>
                <a:gd name="connsiteX2" fmla="*/ 938022 w 942224"/>
                <a:gd name="connsiteY2" fmla="*/ 3185710 h 3877937"/>
                <a:gd name="connsiteX3" fmla="*/ 0 w 942224"/>
                <a:gd name="connsiteY3" fmla="*/ 3877937 h 3877937"/>
                <a:gd name="connsiteX4" fmla="*/ 0 w 942224"/>
                <a:gd name="connsiteY4" fmla="*/ 664684 h 3877937"/>
                <a:gd name="connsiteX0" fmla="*/ 0 w 938202"/>
                <a:gd name="connsiteY0" fmla="*/ 664684 h 3877937"/>
                <a:gd name="connsiteX1" fmla="*/ 938022 w 938202"/>
                <a:gd name="connsiteY1" fmla="*/ 0 h 3877937"/>
                <a:gd name="connsiteX2" fmla="*/ 934000 w 938202"/>
                <a:gd name="connsiteY2" fmla="*/ 3217031 h 3877937"/>
                <a:gd name="connsiteX3" fmla="*/ 0 w 938202"/>
                <a:gd name="connsiteY3" fmla="*/ 3877937 h 3877937"/>
                <a:gd name="connsiteX4" fmla="*/ 0 w 938202"/>
                <a:gd name="connsiteY4" fmla="*/ 664684 h 3877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8202" h="3877937">
                  <a:moveTo>
                    <a:pt x="0" y="664684"/>
                  </a:moveTo>
                  <a:lnTo>
                    <a:pt x="938022" y="0"/>
                  </a:lnTo>
                  <a:cubicBezTo>
                    <a:pt x="933820" y="1292646"/>
                    <a:pt x="938202" y="1924385"/>
                    <a:pt x="934000" y="3217031"/>
                  </a:cubicBezTo>
                  <a:lnTo>
                    <a:pt x="0" y="3877937"/>
                  </a:lnTo>
                  <a:lnTo>
                    <a:pt x="0" y="664684"/>
                  </a:lnTo>
                  <a:close/>
                </a:path>
              </a:pathLst>
            </a:custGeom>
            <a:gradFill>
              <a:gsLst>
                <a:gs pos="0">
                  <a:schemeClr val="tx2">
                    <a:lumMod val="60000"/>
                    <a:lumOff val="40000"/>
                    <a:alpha val="60000"/>
                  </a:schemeClr>
                </a:gs>
                <a:gs pos="100000">
                  <a:schemeClr val="accent1">
                    <a:tint val="23500"/>
                    <a:satMod val="160000"/>
                    <a:alpha val="50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tangle 41"/>
            <p:cNvSpPr/>
            <p:nvPr/>
          </p:nvSpPr>
          <p:spPr>
            <a:xfrm>
              <a:off x="2815080" y="1952045"/>
              <a:ext cx="2818846" cy="2806017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  <a:alpha val="60000"/>
                  </a:schemeClr>
                </a:gs>
                <a:gs pos="100000">
                  <a:schemeClr val="accent1">
                    <a:tint val="23500"/>
                    <a:satMod val="160000"/>
                    <a:alpha val="50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Freeform 42"/>
            <p:cNvSpPr/>
            <p:nvPr/>
          </p:nvSpPr>
          <p:spPr>
            <a:xfrm>
              <a:off x="2816634" y="1380572"/>
              <a:ext cx="3626701" cy="574116"/>
            </a:xfrm>
            <a:custGeom>
              <a:avLst/>
              <a:gdLst>
                <a:gd name="connsiteX0" fmla="*/ 0 w 3227943"/>
                <a:gd name="connsiteY0" fmla="*/ 0 h 1219200"/>
                <a:gd name="connsiteX1" fmla="*/ 3227943 w 3227943"/>
                <a:gd name="connsiteY1" fmla="*/ 0 h 1219200"/>
                <a:gd name="connsiteX2" fmla="*/ 3227943 w 3227943"/>
                <a:gd name="connsiteY2" fmla="*/ 1219200 h 1219200"/>
                <a:gd name="connsiteX3" fmla="*/ 0 w 3227943"/>
                <a:gd name="connsiteY3" fmla="*/ 1219200 h 1219200"/>
                <a:gd name="connsiteX4" fmla="*/ 0 w 3227943"/>
                <a:gd name="connsiteY4" fmla="*/ 0 h 1219200"/>
                <a:gd name="connsiteX0" fmla="*/ 0 w 4131326"/>
                <a:gd name="connsiteY0" fmla="*/ 20549 h 1239749"/>
                <a:gd name="connsiteX1" fmla="*/ 4131326 w 4131326"/>
                <a:gd name="connsiteY1" fmla="*/ 0 h 1239749"/>
                <a:gd name="connsiteX2" fmla="*/ 3227943 w 4131326"/>
                <a:gd name="connsiteY2" fmla="*/ 1239749 h 1239749"/>
                <a:gd name="connsiteX3" fmla="*/ 0 w 4131326"/>
                <a:gd name="connsiteY3" fmla="*/ 1239749 h 1239749"/>
                <a:gd name="connsiteX4" fmla="*/ 0 w 4131326"/>
                <a:gd name="connsiteY4" fmla="*/ 20549 h 1239749"/>
                <a:gd name="connsiteX0" fmla="*/ 0 w 4173945"/>
                <a:gd name="connsiteY0" fmla="*/ 31483 h 1250683"/>
                <a:gd name="connsiteX1" fmla="*/ 4173945 w 4173945"/>
                <a:gd name="connsiteY1" fmla="*/ 0 h 1250683"/>
                <a:gd name="connsiteX2" fmla="*/ 3227943 w 4173945"/>
                <a:gd name="connsiteY2" fmla="*/ 1250683 h 1250683"/>
                <a:gd name="connsiteX3" fmla="*/ 0 w 4173945"/>
                <a:gd name="connsiteY3" fmla="*/ 1250683 h 1250683"/>
                <a:gd name="connsiteX4" fmla="*/ 0 w 4173945"/>
                <a:gd name="connsiteY4" fmla="*/ 31483 h 1250683"/>
                <a:gd name="connsiteX0" fmla="*/ 988280 w 4173945"/>
                <a:gd name="connsiteY0" fmla="*/ 13261 h 1250683"/>
                <a:gd name="connsiteX1" fmla="*/ 4173945 w 4173945"/>
                <a:gd name="connsiteY1" fmla="*/ 0 h 1250683"/>
                <a:gd name="connsiteX2" fmla="*/ 3227943 w 4173945"/>
                <a:gd name="connsiteY2" fmla="*/ 1250683 h 1250683"/>
                <a:gd name="connsiteX3" fmla="*/ 0 w 4173945"/>
                <a:gd name="connsiteY3" fmla="*/ 1250683 h 1250683"/>
                <a:gd name="connsiteX4" fmla="*/ 988280 w 4173945"/>
                <a:gd name="connsiteY4" fmla="*/ 13261 h 1250683"/>
                <a:gd name="connsiteX0" fmla="*/ 964834 w 4173945"/>
                <a:gd name="connsiteY0" fmla="*/ 0 h 1259287"/>
                <a:gd name="connsiteX1" fmla="*/ 4173945 w 4173945"/>
                <a:gd name="connsiteY1" fmla="*/ 8604 h 1259287"/>
                <a:gd name="connsiteX2" fmla="*/ 3227943 w 4173945"/>
                <a:gd name="connsiteY2" fmla="*/ 1259287 h 1259287"/>
                <a:gd name="connsiteX3" fmla="*/ 0 w 4173945"/>
                <a:gd name="connsiteY3" fmla="*/ 1259287 h 1259287"/>
                <a:gd name="connsiteX4" fmla="*/ 964834 w 4173945"/>
                <a:gd name="connsiteY4" fmla="*/ 0 h 1259287"/>
                <a:gd name="connsiteX0" fmla="*/ 964834 w 4147484"/>
                <a:gd name="connsiteY0" fmla="*/ 0 h 1259287"/>
                <a:gd name="connsiteX1" fmla="*/ 4147484 w 4147484"/>
                <a:gd name="connsiteY1" fmla="*/ 46510 h 1259287"/>
                <a:gd name="connsiteX2" fmla="*/ 3227943 w 4147484"/>
                <a:gd name="connsiteY2" fmla="*/ 1259287 h 1259287"/>
                <a:gd name="connsiteX3" fmla="*/ 0 w 4147484"/>
                <a:gd name="connsiteY3" fmla="*/ 1259287 h 1259287"/>
                <a:gd name="connsiteX4" fmla="*/ 964834 w 4147484"/>
                <a:gd name="connsiteY4" fmla="*/ 0 h 1259287"/>
                <a:gd name="connsiteX0" fmla="*/ 921543 w 4147484"/>
                <a:gd name="connsiteY0" fmla="*/ 0 h 1226670"/>
                <a:gd name="connsiteX1" fmla="*/ 4147484 w 4147484"/>
                <a:gd name="connsiteY1" fmla="*/ 13893 h 1226670"/>
                <a:gd name="connsiteX2" fmla="*/ 3227943 w 4147484"/>
                <a:gd name="connsiteY2" fmla="*/ 1226670 h 1226670"/>
                <a:gd name="connsiteX3" fmla="*/ 0 w 4147484"/>
                <a:gd name="connsiteY3" fmla="*/ 1226670 h 1226670"/>
                <a:gd name="connsiteX4" fmla="*/ 921543 w 4147484"/>
                <a:gd name="connsiteY4" fmla="*/ 0 h 1226670"/>
                <a:gd name="connsiteX0" fmla="*/ 932013 w 4147484"/>
                <a:gd name="connsiteY0" fmla="*/ 2855 h 1212776"/>
                <a:gd name="connsiteX1" fmla="*/ 4147484 w 4147484"/>
                <a:gd name="connsiteY1" fmla="*/ -1 h 1212776"/>
                <a:gd name="connsiteX2" fmla="*/ 3227943 w 4147484"/>
                <a:gd name="connsiteY2" fmla="*/ 1212776 h 1212776"/>
                <a:gd name="connsiteX3" fmla="*/ 0 w 4147484"/>
                <a:gd name="connsiteY3" fmla="*/ 1212776 h 1212776"/>
                <a:gd name="connsiteX4" fmla="*/ 932013 w 4147484"/>
                <a:gd name="connsiteY4" fmla="*/ 2855 h 1212776"/>
                <a:gd name="connsiteX0" fmla="*/ 932013 w 4147484"/>
                <a:gd name="connsiteY0" fmla="*/ 2857 h 1239721"/>
                <a:gd name="connsiteX1" fmla="*/ 4147484 w 4147484"/>
                <a:gd name="connsiteY1" fmla="*/ 1 h 1239721"/>
                <a:gd name="connsiteX2" fmla="*/ 3217625 w 4147484"/>
                <a:gd name="connsiteY2" fmla="*/ 1239721 h 1239721"/>
                <a:gd name="connsiteX3" fmla="*/ 0 w 4147484"/>
                <a:gd name="connsiteY3" fmla="*/ 1212778 h 1239721"/>
                <a:gd name="connsiteX4" fmla="*/ 932013 w 4147484"/>
                <a:gd name="connsiteY4" fmla="*/ 2857 h 1239721"/>
                <a:gd name="connsiteX0" fmla="*/ 937569 w 4153040"/>
                <a:gd name="connsiteY0" fmla="*/ 2855 h 1239719"/>
                <a:gd name="connsiteX1" fmla="*/ 4153040 w 4153040"/>
                <a:gd name="connsiteY1" fmla="*/ -1 h 1239719"/>
                <a:gd name="connsiteX2" fmla="*/ 3223181 w 4153040"/>
                <a:gd name="connsiteY2" fmla="*/ 1239719 h 1239719"/>
                <a:gd name="connsiteX3" fmla="*/ 0 w 4153040"/>
                <a:gd name="connsiteY3" fmla="*/ 1239719 h 1239719"/>
                <a:gd name="connsiteX4" fmla="*/ 937569 w 4153040"/>
                <a:gd name="connsiteY4" fmla="*/ 2855 h 1239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3040" h="1239719">
                  <a:moveTo>
                    <a:pt x="937569" y="2855"/>
                  </a:moveTo>
                  <a:lnTo>
                    <a:pt x="4153040" y="-1"/>
                  </a:lnTo>
                  <a:lnTo>
                    <a:pt x="3223181" y="1239719"/>
                  </a:lnTo>
                  <a:lnTo>
                    <a:pt x="0" y="1239719"/>
                  </a:lnTo>
                  <a:lnTo>
                    <a:pt x="937569" y="2855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60000"/>
                    <a:lumOff val="40000"/>
                    <a:alpha val="60000"/>
                  </a:schemeClr>
                </a:gs>
                <a:gs pos="100000">
                  <a:schemeClr val="accent1">
                    <a:tint val="23500"/>
                    <a:satMod val="160000"/>
                    <a:alpha val="50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0" name="Cube 49"/>
          <p:cNvSpPr/>
          <p:nvPr/>
        </p:nvSpPr>
        <p:spPr>
          <a:xfrm flipH="1">
            <a:off x="2455696" y="4274776"/>
            <a:ext cx="810408" cy="810408"/>
          </a:xfrm>
          <a:prstGeom prst="cub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Cube 54"/>
          <p:cNvSpPr/>
          <p:nvPr/>
        </p:nvSpPr>
        <p:spPr>
          <a:xfrm flipH="1">
            <a:off x="3175776" y="3645024"/>
            <a:ext cx="720080" cy="720080"/>
          </a:xfrm>
          <a:prstGeom prst="cub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Cube 67"/>
          <p:cNvSpPr/>
          <p:nvPr/>
        </p:nvSpPr>
        <p:spPr>
          <a:xfrm flipH="1">
            <a:off x="2167664" y="3356992"/>
            <a:ext cx="720080" cy="720080"/>
          </a:xfrm>
          <a:prstGeom prst="cub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Cube 45"/>
          <p:cNvSpPr/>
          <p:nvPr/>
        </p:nvSpPr>
        <p:spPr>
          <a:xfrm flipH="1">
            <a:off x="2437376" y="3594627"/>
            <a:ext cx="810408" cy="810408"/>
          </a:xfrm>
          <a:prstGeom prst="cube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Cube 48"/>
          <p:cNvSpPr/>
          <p:nvPr/>
        </p:nvSpPr>
        <p:spPr>
          <a:xfrm flipH="1">
            <a:off x="2437376" y="2924944"/>
            <a:ext cx="810408" cy="810408"/>
          </a:xfrm>
          <a:prstGeom prst="cube">
            <a:avLst/>
          </a:prstGeom>
          <a:ln>
            <a:solidFill>
              <a:schemeClr val="tx1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Cube 53"/>
          <p:cNvSpPr/>
          <p:nvPr/>
        </p:nvSpPr>
        <p:spPr>
          <a:xfrm flipH="1">
            <a:off x="1807624" y="3645024"/>
            <a:ext cx="720080" cy="720080"/>
          </a:xfrm>
          <a:prstGeom prst="cub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Cube 55"/>
          <p:cNvSpPr/>
          <p:nvPr/>
        </p:nvSpPr>
        <p:spPr>
          <a:xfrm flipH="1">
            <a:off x="2743728" y="3861048"/>
            <a:ext cx="792088" cy="792088"/>
          </a:xfrm>
          <a:prstGeom prst="cub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Title 3"/>
          <p:cNvSpPr txBox="1">
            <a:spLocks/>
          </p:cNvSpPr>
          <p:nvPr/>
        </p:nvSpPr>
        <p:spPr>
          <a:xfrm>
            <a:off x="0" y="922710"/>
            <a:ext cx="9144000" cy="634082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US" sz="2800" b="1" dirty="0"/>
              <a:t>Lu &amp; Hamilton Model (1991)</a:t>
            </a: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6943" y="2277244"/>
            <a:ext cx="2257425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6053" y="3212976"/>
            <a:ext cx="2847975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68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3666" y="3789040"/>
            <a:ext cx="295275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Title 3"/>
          <p:cNvSpPr txBox="1">
            <a:spLocks/>
          </p:cNvSpPr>
          <p:nvPr/>
        </p:nvSpPr>
        <p:spPr>
          <a:xfrm>
            <a:off x="36512" y="6251302"/>
            <a:ext cx="9144000" cy="634082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r>
              <a:rPr lang="fi-FI" sz="1100" dirty="0" smtClean="0"/>
              <a:t>1. Lu</a:t>
            </a:r>
            <a:r>
              <a:rPr lang="fi-FI" sz="1100" dirty="0"/>
              <a:t>, E. T. &amp; Hamilton, R. J. 1991, ApJ, 380, L89</a:t>
            </a:r>
          </a:p>
          <a:p>
            <a:pPr algn="l" rtl="0"/>
            <a:r>
              <a:rPr lang="sv-SE" sz="1100" dirty="0" smtClean="0"/>
              <a:t>2. Lu</a:t>
            </a:r>
            <a:r>
              <a:rPr lang="sv-SE" sz="1100" dirty="0"/>
              <a:t>, E. T., Hamilton, R. J., McTiernan, J. M., &amp; Bromund, K. </a:t>
            </a:r>
            <a:r>
              <a:rPr lang="nl-NL" sz="1100" dirty="0"/>
              <a:t>R. 1993, ApJ, 412, 841</a:t>
            </a:r>
            <a:endParaRPr lang="en-US" sz="1100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08520" y="6309320"/>
            <a:ext cx="3959424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2" name="Title 3"/>
          <p:cNvSpPr txBox="1">
            <a:spLocks/>
          </p:cNvSpPr>
          <p:nvPr/>
        </p:nvSpPr>
        <p:spPr>
          <a:xfrm>
            <a:off x="36512" y="-13394"/>
            <a:ext cx="9144000" cy="922114"/>
          </a:xfrm>
          <a:prstGeom prst="rect">
            <a:avLst/>
          </a:prstGeom>
        </p:spPr>
        <p:txBody>
          <a:bodyPr vert="horz" lIns="91440" tIns="45720" rIns="91440" bIns="45720" numCol="2" rtlCol="0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>
                    <a:lumMod val="65000"/>
                  </a:schemeClr>
                </a:solidFill>
              </a:rPr>
              <a:t>Solar </a:t>
            </a: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Flares </a:t>
            </a:r>
          </a:p>
          <a:p>
            <a:pPr marL="285750" indent="-285750" algn="l" rtl="0">
              <a:buFont typeface="Wingdings" pitchFamily="2" charset="2"/>
              <a:buChar char="Ø"/>
            </a:pPr>
            <a:r>
              <a:rPr lang="en-US" sz="1400" dirty="0"/>
              <a:t>Cellular Automaton Avalanche Models</a:t>
            </a:r>
          </a:p>
          <a:p>
            <a:pPr marL="285750" indent="-28575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>
                    <a:lumMod val="65000"/>
                  </a:schemeClr>
                </a:solidFill>
              </a:rPr>
              <a:t>The </a:t>
            </a: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Optimized Model</a:t>
            </a:r>
          </a:p>
          <a:p>
            <a:pPr marL="285750" indent="-28575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What is next ?</a:t>
            </a:r>
          </a:p>
          <a:p>
            <a:pPr algn="l" rtl="0">
              <a:lnSpc>
                <a:spcPct val="120000"/>
              </a:lnSpc>
            </a:pPr>
            <a:endParaRPr lang="fa-IR" sz="14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2870076"/>
            <a:ext cx="1181100" cy="342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Box 2"/>
              <p:cNvSpPr txBox="1"/>
              <p:nvPr/>
            </p:nvSpPr>
            <p:spPr>
              <a:xfrm>
                <a:off x="6670370" y="2852936"/>
                <a:ext cx="421910" cy="369332"/>
              </a:xfrm>
              <a:prstGeom prst="rect">
                <a:avLst/>
              </a:prstGeom>
              <a:noFill/>
            </p:spPr>
            <p:txBody>
              <a:bodyPr wrap="none" rtlCol="1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a-IR" i="1" smtClean="0">
                          <a:latin typeface="Cambria Math"/>
                          <a:ea typeface="Cambria Math"/>
                        </a:rPr>
                        <m:t>≥</m:t>
                      </m:r>
                    </m:oMath>
                  </m:oMathPara>
                </a14:m>
                <a:endParaRPr lang="fa-IR" dirty="0"/>
              </a:p>
            </p:txBody>
          </p:sp>
        </mc:Choice>
        <mc:Fallback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70370" y="2852936"/>
                <a:ext cx="421910" cy="369332"/>
              </a:xfrm>
              <a:prstGeom prst="rect">
                <a:avLst/>
              </a:prstGeom>
              <a:blipFill rotWithShape="1"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a-I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" name="Straight Connector 4"/>
          <p:cNvCxnSpPr/>
          <p:nvPr/>
        </p:nvCxnSpPr>
        <p:spPr>
          <a:xfrm>
            <a:off x="6156176" y="2924944"/>
            <a:ext cx="0" cy="28803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6732240" y="2924944"/>
            <a:ext cx="0" cy="28803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4011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ube 52"/>
          <p:cNvSpPr/>
          <p:nvPr/>
        </p:nvSpPr>
        <p:spPr>
          <a:xfrm flipH="1">
            <a:off x="5364088" y="2132857"/>
            <a:ext cx="1243775" cy="1243775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Cube 56"/>
          <p:cNvSpPr/>
          <p:nvPr/>
        </p:nvSpPr>
        <p:spPr>
          <a:xfrm flipH="1">
            <a:off x="4211960" y="2132857"/>
            <a:ext cx="1243775" cy="1243775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Cube 57"/>
          <p:cNvSpPr/>
          <p:nvPr/>
        </p:nvSpPr>
        <p:spPr>
          <a:xfrm flipH="1">
            <a:off x="2987824" y="2132856"/>
            <a:ext cx="1368152" cy="1243775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Cube 58"/>
          <p:cNvSpPr/>
          <p:nvPr/>
        </p:nvSpPr>
        <p:spPr>
          <a:xfrm flipH="1">
            <a:off x="1907704" y="2132857"/>
            <a:ext cx="1243775" cy="1243775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Cube 59"/>
          <p:cNvSpPr/>
          <p:nvPr/>
        </p:nvSpPr>
        <p:spPr>
          <a:xfrm flipH="1">
            <a:off x="755576" y="2152496"/>
            <a:ext cx="1243775" cy="1243775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Cube 28"/>
          <p:cNvSpPr/>
          <p:nvPr/>
        </p:nvSpPr>
        <p:spPr>
          <a:xfrm flipH="1">
            <a:off x="5796136" y="2545265"/>
            <a:ext cx="1243775" cy="1243775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Cube 29"/>
          <p:cNvSpPr/>
          <p:nvPr/>
        </p:nvSpPr>
        <p:spPr>
          <a:xfrm flipH="1">
            <a:off x="6280553" y="2996952"/>
            <a:ext cx="1243775" cy="1243775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Cube 30"/>
          <p:cNvSpPr/>
          <p:nvPr/>
        </p:nvSpPr>
        <p:spPr>
          <a:xfrm flipH="1">
            <a:off x="6732240" y="3481369"/>
            <a:ext cx="1243775" cy="1243775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Cube 22"/>
          <p:cNvSpPr/>
          <p:nvPr/>
        </p:nvSpPr>
        <p:spPr>
          <a:xfrm flipH="1">
            <a:off x="4644008" y="2545265"/>
            <a:ext cx="1243775" cy="1243775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/>
          <p:cNvSpPr/>
          <p:nvPr/>
        </p:nvSpPr>
        <p:spPr>
          <a:xfrm>
            <a:off x="-14513" y="4797152"/>
            <a:ext cx="9171432" cy="2062535"/>
          </a:xfrm>
          <a:prstGeom prst="rect">
            <a:avLst/>
          </a:prstGeom>
          <a:gradFill>
            <a:gsLst>
              <a:gs pos="0">
                <a:srgbClr val="00B0F0">
                  <a:alpha val="65000"/>
                </a:srgbClr>
              </a:gs>
              <a:gs pos="50000">
                <a:srgbClr val="00AAE6">
                  <a:alpha val="31000"/>
                </a:srgbClr>
              </a:gs>
              <a:gs pos="100000">
                <a:srgbClr val="00B0F0">
                  <a:alpha val="0"/>
                </a:srgbClr>
              </a:gs>
            </a:gsLst>
            <a:lin ang="162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5" name="Cube 54"/>
          <p:cNvSpPr/>
          <p:nvPr/>
        </p:nvSpPr>
        <p:spPr>
          <a:xfrm flipH="1">
            <a:off x="5128425" y="2996952"/>
            <a:ext cx="1243775" cy="1243775"/>
          </a:xfrm>
          <a:prstGeom prst="cub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Cube 67"/>
          <p:cNvSpPr/>
          <p:nvPr/>
        </p:nvSpPr>
        <p:spPr>
          <a:xfrm flipH="1">
            <a:off x="3491880" y="2545265"/>
            <a:ext cx="1243775" cy="1243775"/>
          </a:xfrm>
          <a:prstGeom prst="cub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Cube 45"/>
          <p:cNvSpPr/>
          <p:nvPr/>
        </p:nvSpPr>
        <p:spPr>
          <a:xfrm flipH="1">
            <a:off x="3905607" y="2996951"/>
            <a:ext cx="1360287" cy="1349400"/>
          </a:xfrm>
          <a:prstGeom prst="cub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Cube 24"/>
          <p:cNvSpPr/>
          <p:nvPr/>
        </p:nvSpPr>
        <p:spPr>
          <a:xfrm flipH="1">
            <a:off x="2411760" y="2564904"/>
            <a:ext cx="1243775" cy="1243775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Cube 53"/>
          <p:cNvSpPr/>
          <p:nvPr/>
        </p:nvSpPr>
        <p:spPr>
          <a:xfrm flipH="1">
            <a:off x="2843808" y="2996951"/>
            <a:ext cx="1243775" cy="1243775"/>
          </a:xfrm>
          <a:prstGeom prst="cub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Title 3"/>
          <p:cNvSpPr txBox="1">
            <a:spLocks/>
          </p:cNvSpPr>
          <p:nvPr/>
        </p:nvSpPr>
        <p:spPr>
          <a:xfrm>
            <a:off x="0" y="922710"/>
            <a:ext cx="9144000" cy="634082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US" sz="2800" b="1" dirty="0" smtClean="0"/>
              <a:t>The Deterministically Driven Model</a:t>
            </a:r>
            <a:endParaRPr lang="en-US" sz="2800" b="1" dirty="0"/>
          </a:p>
        </p:txBody>
      </p:sp>
      <p:sp>
        <p:nvSpPr>
          <p:cNvPr id="24" name="Cube 23"/>
          <p:cNvSpPr/>
          <p:nvPr/>
        </p:nvSpPr>
        <p:spPr>
          <a:xfrm flipH="1">
            <a:off x="5580112" y="3481369"/>
            <a:ext cx="1243775" cy="1243775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Cube 55"/>
          <p:cNvSpPr/>
          <p:nvPr/>
        </p:nvSpPr>
        <p:spPr>
          <a:xfrm flipH="1">
            <a:off x="4355976" y="3429000"/>
            <a:ext cx="1368152" cy="1296144"/>
          </a:xfrm>
          <a:prstGeom prst="cub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Cube 25"/>
          <p:cNvSpPr/>
          <p:nvPr/>
        </p:nvSpPr>
        <p:spPr>
          <a:xfrm flipH="1">
            <a:off x="3275856" y="3481369"/>
            <a:ext cx="1243775" cy="1243775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Cube 31"/>
          <p:cNvSpPr/>
          <p:nvPr/>
        </p:nvSpPr>
        <p:spPr>
          <a:xfrm flipH="1">
            <a:off x="1187624" y="2564904"/>
            <a:ext cx="1243775" cy="1243775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Cube 32"/>
          <p:cNvSpPr/>
          <p:nvPr/>
        </p:nvSpPr>
        <p:spPr>
          <a:xfrm flipH="1">
            <a:off x="1672041" y="3016591"/>
            <a:ext cx="1243775" cy="1243775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Cube 33"/>
          <p:cNvSpPr/>
          <p:nvPr/>
        </p:nvSpPr>
        <p:spPr>
          <a:xfrm flipH="1">
            <a:off x="2123728" y="3501008"/>
            <a:ext cx="1243775" cy="1243775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Cube 34"/>
          <p:cNvSpPr/>
          <p:nvPr/>
        </p:nvSpPr>
        <p:spPr>
          <a:xfrm flipH="1">
            <a:off x="7144649" y="3985425"/>
            <a:ext cx="1243775" cy="1243775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Cube 39"/>
          <p:cNvSpPr/>
          <p:nvPr/>
        </p:nvSpPr>
        <p:spPr>
          <a:xfrm flipH="1">
            <a:off x="5992521" y="3985425"/>
            <a:ext cx="1243775" cy="1243775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Cube 40"/>
          <p:cNvSpPr/>
          <p:nvPr/>
        </p:nvSpPr>
        <p:spPr>
          <a:xfrm flipH="1">
            <a:off x="4768385" y="3985424"/>
            <a:ext cx="1368152" cy="1243775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Cube 47"/>
          <p:cNvSpPr/>
          <p:nvPr/>
        </p:nvSpPr>
        <p:spPr>
          <a:xfrm flipH="1">
            <a:off x="3688265" y="3985425"/>
            <a:ext cx="1243775" cy="1243775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Cube 50"/>
          <p:cNvSpPr/>
          <p:nvPr/>
        </p:nvSpPr>
        <p:spPr>
          <a:xfrm flipH="1">
            <a:off x="2536137" y="4005064"/>
            <a:ext cx="1243775" cy="1243775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itle 3"/>
          <p:cNvSpPr txBox="1">
            <a:spLocks/>
          </p:cNvSpPr>
          <p:nvPr/>
        </p:nvSpPr>
        <p:spPr>
          <a:xfrm>
            <a:off x="36512" y="6251302"/>
            <a:ext cx="9144000" cy="634082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r>
              <a:rPr lang="en-US" sz="1100" dirty="0" smtClean="0"/>
              <a:t>1. </a:t>
            </a:r>
            <a:r>
              <a:rPr lang="fr-FR" sz="1100" dirty="0" err="1"/>
              <a:t>Strugarek</a:t>
            </a:r>
            <a:r>
              <a:rPr lang="fr-FR" sz="1100" dirty="0"/>
              <a:t>, A. &amp; Charbonneau, P. 2014, </a:t>
            </a:r>
            <a:r>
              <a:rPr lang="fr-FR" sz="1100" dirty="0" err="1"/>
              <a:t>SoPh</a:t>
            </a:r>
            <a:r>
              <a:rPr lang="fr-FR" sz="1100" dirty="0"/>
              <a:t>, 289, 4137</a:t>
            </a:r>
            <a:r>
              <a:rPr lang="en-US" sz="1100" i="1" dirty="0" smtClean="0"/>
              <a:t> </a:t>
            </a:r>
          </a:p>
          <a:p>
            <a:pPr algn="l" rtl="0"/>
            <a:r>
              <a:rPr lang="en-US" sz="1100" dirty="0" smtClean="0"/>
              <a:t>2. </a:t>
            </a:r>
            <a:r>
              <a:rPr lang="en-US" sz="1100" dirty="0" err="1"/>
              <a:t>Strugarek</a:t>
            </a:r>
            <a:r>
              <a:rPr lang="en-US" sz="1100" dirty="0"/>
              <a:t>, A., Charbonneau, P., Joseph, R. &amp; </a:t>
            </a:r>
            <a:r>
              <a:rPr lang="en-US" sz="1100" dirty="0" err="1"/>
              <a:t>Pirot</a:t>
            </a:r>
            <a:r>
              <a:rPr lang="en-US" sz="1100" dirty="0"/>
              <a:t>, D</a:t>
            </a:r>
            <a:r>
              <a:rPr lang="en-US" sz="1100" dirty="0" smtClean="0"/>
              <a:t>.,</a:t>
            </a:r>
            <a:r>
              <a:rPr lang="fa-IR" sz="1100" dirty="0" smtClean="0"/>
              <a:t> </a:t>
            </a:r>
            <a:r>
              <a:rPr lang="en-US" sz="1100" dirty="0"/>
              <a:t>2014, </a:t>
            </a:r>
            <a:r>
              <a:rPr lang="en-US" sz="1100" dirty="0" err="1"/>
              <a:t>SoPh</a:t>
            </a:r>
            <a:r>
              <a:rPr lang="en-US" sz="1100" dirty="0"/>
              <a:t>, 289, 2993</a:t>
            </a:r>
          </a:p>
        </p:txBody>
      </p:sp>
      <p:cxnSp>
        <p:nvCxnSpPr>
          <p:cNvPr id="37" name="Straight Connector 36"/>
          <p:cNvCxnSpPr/>
          <p:nvPr/>
        </p:nvCxnSpPr>
        <p:spPr>
          <a:xfrm>
            <a:off x="108520" y="6309320"/>
            <a:ext cx="3959424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9" name="Title 3"/>
          <p:cNvSpPr txBox="1">
            <a:spLocks/>
          </p:cNvSpPr>
          <p:nvPr/>
        </p:nvSpPr>
        <p:spPr>
          <a:xfrm>
            <a:off x="36512" y="-13394"/>
            <a:ext cx="9144000" cy="922114"/>
          </a:xfrm>
          <a:prstGeom prst="rect">
            <a:avLst/>
          </a:prstGeom>
        </p:spPr>
        <p:txBody>
          <a:bodyPr vert="horz" lIns="91440" tIns="45720" rIns="91440" bIns="45720" numCol="2" rtlCol="0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>
                    <a:lumMod val="65000"/>
                  </a:schemeClr>
                </a:solidFill>
              </a:rPr>
              <a:t>Solar </a:t>
            </a: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Flares </a:t>
            </a:r>
          </a:p>
          <a:p>
            <a:pPr marL="285750" indent="-285750" algn="l" rtl="0">
              <a:buFont typeface="Wingdings" pitchFamily="2" charset="2"/>
              <a:buChar char="Ø"/>
            </a:pPr>
            <a:r>
              <a:rPr lang="en-US" sz="1400" dirty="0"/>
              <a:t>Cellular Automaton Avalanche Models</a:t>
            </a:r>
          </a:p>
          <a:p>
            <a:pPr marL="285750" indent="-28575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>
                    <a:lumMod val="65000"/>
                  </a:schemeClr>
                </a:solidFill>
              </a:rPr>
              <a:t>The </a:t>
            </a: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Optimized Model</a:t>
            </a:r>
          </a:p>
          <a:p>
            <a:pPr marL="285750" indent="-28575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What is next ?</a:t>
            </a:r>
          </a:p>
          <a:p>
            <a:pPr algn="l" rtl="0">
              <a:lnSpc>
                <a:spcPct val="120000"/>
              </a:lnSpc>
            </a:pPr>
            <a:endParaRPr lang="fa-IR" sz="14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2723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7974" y="3321918"/>
            <a:ext cx="3600450" cy="161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5" name="Cube 64"/>
          <p:cNvSpPr/>
          <p:nvPr/>
        </p:nvSpPr>
        <p:spPr>
          <a:xfrm flipH="1">
            <a:off x="2994370" y="2879122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Cube 65"/>
          <p:cNvSpPr/>
          <p:nvPr/>
        </p:nvSpPr>
        <p:spPr>
          <a:xfrm flipH="1">
            <a:off x="3216940" y="3068960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Cube 66"/>
          <p:cNvSpPr/>
          <p:nvPr/>
        </p:nvSpPr>
        <p:spPr>
          <a:xfrm flipH="1">
            <a:off x="3426418" y="3284984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Cube 70"/>
          <p:cNvSpPr/>
          <p:nvPr/>
        </p:nvSpPr>
        <p:spPr>
          <a:xfrm flipH="1">
            <a:off x="3642442" y="3501008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Cube 71"/>
          <p:cNvSpPr/>
          <p:nvPr/>
        </p:nvSpPr>
        <p:spPr>
          <a:xfrm flipH="1">
            <a:off x="3858466" y="3723578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Cube 49"/>
          <p:cNvSpPr/>
          <p:nvPr/>
        </p:nvSpPr>
        <p:spPr>
          <a:xfrm flipH="1">
            <a:off x="2490314" y="2879122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Cube 60"/>
          <p:cNvSpPr/>
          <p:nvPr/>
        </p:nvSpPr>
        <p:spPr>
          <a:xfrm flipH="1">
            <a:off x="2712884" y="3068960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Cube 61"/>
          <p:cNvSpPr/>
          <p:nvPr/>
        </p:nvSpPr>
        <p:spPr>
          <a:xfrm flipH="1">
            <a:off x="2922362" y="3284984"/>
            <a:ext cx="497510" cy="497510"/>
          </a:xfrm>
          <a:prstGeom prst="cub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Cube 62"/>
          <p:cNvSpPr/>
          <p:nvPr/>
        </p:nvSpPr>
        <p:spPr>
          <a:xfrm flipH="1">
            <a:off x="3138386" y="3501008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Cube 63"/>
          <p:cNvSpPr/>
          <p:nvPr/>
        </p:nvSpPr>
        <p:spPr>
          <a:xfrm flipH="1">
            <a:off x="3354410" y="3723578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Cube 42"/>
          <p:cNvSpPr/>
          <p:nvPr/>
        </p:nvSpPr>
        <p:spPr>
          <a:xfrm flipH="1">
            <a:off x="1986258" y="2879122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Cube 43"/>
          <p:cNvSpPr/>
          <p:nvPr/>
        </p:nvSpPr>
        <p:spPr>
          <a:xfrm flipH="1">
            <a:off x="2208828" y="3068960"/>
            <a:ext cx="497510" cy="497510"/>
          </a:xfrm>
          <a:prstGeom prst="cub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Cube 44"/>
          <p:cNvSpPr/>
          <p:nvPr/>
        </p:nvSpPr>
        <p:spPr>
          <a:xfrm flipH="1">
            <a:off x="2418306" y="3284984"/>
            <a:ext cx="497510" cy="497510"/>
          </a:xfrm>
          <a:prstGeom prst="cube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Cube 46"/>
          <p:cNvSpPr/>
          <p:nvPr/>
        </p:nvSpPr>
        <p:spPr>
          <a:xfrm flipH="1">
            <a:off x="2634330" y="3501008"/>
            <a:ext cx="497510" cy="497510"/>
          </a:xfrm>
          <a:prstGeom prst="cub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Cube 48"/>
          <p:cNvSpPr/>
          <p:nvPr/>
        </p:nvSpPr>
        <p:spPr>
          <a:xfrm flipH="1">
            <a:off x="2850354" y="3723578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Cube 35"/>
          <p:cNvSpPr/>
          <p:nvPr/>
        </p:nvSpPr>
        <p:spPr>
          <a:xfrm flipH="1">
            <a:off x="1482202" y="2879122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Cube 36"/>
          <p:cNvSpPr/>
          <p:nvPr/>
        </p:nvSpPr>
        <p:spPr>
          <a:xfrm flipH="1">
            <a:off x="1704772" y="3068960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Cube 37"/>
          <p:cNvSpPr/>
          <p:nvPr/>
        </p:nvSpPr>
        <p:spPr>
          <a:xfrm flipH="1">
            <a:off x="1914250" y="3284984"/>
            <a:ext cx="497510" cy="497510"/>
          </a:xfrm>
          <a:prstGeom prst="cub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Cube 38"/>
          <p:cNvSpPr/>
          <p:nvPr/>
        </p:nvSpPr>
        <p:spPr>
          <a:xfrm flipH="1">
            <a:off x="2130274" y="3501008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Cube 41"/>
          <p:cNvSpPr/>
          <p:nvPr/>
        </p:nvSpPr>
        <p:spPr>
          <a:xfrm flipH="1">
            <a:off x="2346298" y="3723578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Cube 59"/>
          <p:cNvSpPr/>
          <p:nvPr/>
        </p:nvSpPr>
        <p:spPr>
          <a:xfrm flipH="1">
            <a:off x="978146" y="2879122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/>
          <p:cNvSpPr/>
          <p:nvPr/>
        </p:nvSpPr>
        <p:spPr>
          <a:xfrm>
            <a:off x="-14513" y="4797152"/>
            <a:ext cx="9171432" cy="2062535"/>
          </a:xfrm>
          <a:prstGeom prst="rect">
            <a:avLst/>
          </a:prstGeom>
          <a:gradFill>
            <a:gsLst>
              <a:gs pos="0">
                <a:srgbClr val="00B0F0">
                  <a:alpha val="65000"/>
                </a:srgbClr>
              </a:gs>
              <a:gs pos="50000">
                <a:srgbClr val="00AAE6">
                  <a:alpha val="31000"/>
                </a:srgbClr>
              </a:gs>
              <a:gs pos="100000">
                <a:srgbClr val="00B0F0">
                  <a:alpha val="0"/>
                </a:srgbClr>
              </a:gs>
            </a:gsLst>
            <a:lin ang="162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9" name="Title 3"/>
          <p:cNvSpPr txBox="1">
            <a:spLocks/>
          </p:cNvSpPr>
          <p:nvPr/>
        </p:nvSpPr>
        <p:spPr>
          <a:xfrm>
            <a:off x="0" y="922710"/>
            <a:ext cx="9144000" cy="634082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US" sz="2800" b="1" dirty="0"/>
              <a:t>The Deterministically Driven Model</a:t>
            </a:r>
          </a:p>
        </p:txBody>
      </p:sp>
      <p:sp>
        <p:nvSpPr>
          <p:cNvPr id="32" name="Cube 31"/>
          <p:cNvSpPr/>
          <p:nvPr/>
        </p:nvSpPr>
        <p:spPr>
          <a:xfrm flipH="1">
            <a:off x="1200716" y="3068960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Cube 32"/>
          <p:cNvSpPr/>
          <p:nvPr/>
        </p:nvSpPr>
        <p:spPr>
          <a:xfrm flipH="1">
            <a:off x="1410194" y="3284984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Cube 33"/>
          <p:cNvSpPr/>
          <p:nvPr/>
        </p:nvSpPr>
        <p:spPr>
          <a:xfrm flipH="1">
            <a:off x="1626218" y="3501008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Cube 50"/>
          <p:cNvSpPr/>
          <p:nvPr/>
        </p:nvSpPr>
        <p:spPr>
          <a:xfrm flipH="1">
            <a:off x="1842242" y="3723578"/>
            <a:ext cx="497510" cy="497510"/>
          </a:xfrm>
          <a:prstGeom prst="cub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1761" y="2240285"/>
            <a:ext cx="2314575" cy="828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angle 1"/>
          <p:cNvSpPr/>
          <p:nvPr/>
        </p:nvSpPr>
        <p:spPr>
          <a:xfrm>
            <a:off x="7308304" y="3501008"/>
            <a:ext cx="288032" cy="2225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fa-IR"/>
          </a:p>
        </p:txBody>
      </p:sp>
      <p:sp>
        <p:nvSpPr>
          <p:cNvPr id="73" name="Rectangle 72"/>
          <p:cNvSpPr/>
          <p:nvPr/>
        </p:nvSpPr>
        <p:spPr>
          <a:xfrm>
            <a:off x="7956376" y="4070526"/>
            <a:ext cx="288032" cy="2225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fa-IR"/>
          </a:p>
        </p:txBody>
      </p:sp>
      <p:sp>
        <p:nvSpPr>
          <p:cNvPr id="35" name="Title 3"/>
          <p:cNvSpPr txBox="1">
            <a:spLocks/>
          </p:cNvSpPr>
          <p:nvPr/>
        </p:nvSpPr>
        <p:spPr>
          <a:xfrm>
            <a:off x="36512" y="6251302"/>
            <a:ext cx="9144000" cy="634082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r>
              <a:rPr lang="en-US" sz="1100" dirty="0" smtClean="0"/>
              <a:t>1. </a:t>
            </a:r>
            <a:r>
              <a:rPr lang="fr-FR" sz="1100" dirty="0" err="1"/>
              <a:t>Strugarek</a:t>
            </a:r>
            <a:r>
              <a:rPr lang="fr-FR" sz="1100" dirty="0"/>
              <a:t>, A. &amp; Charbonneau, P. 2014, </a:t>
            </a:r>
            <a:r>
              <a:rPr lang="fr-FR" sz="1100" dirty="0" err="1"/>
              <a:t>SoPh</a:t>
            </a:r>
            <a:r>
              <a:rPr lang="fr-FR" sz="1100" dirty="0"/>
              <a:t>, 289, 4137</a:t>
            </a:r>
            <a:r>
              <a:rPr lang="en-US" sz="1100" i="1" dirty="0" smtClean="0"/>
              <a:t> </a:t>
            </a:r>
          </a:p>
          <a:p>
            <a:pPr algn="l" rtl="0"/>
            <a:r>
              <a:rPr lang="en-US" sz="1100" dirty="0" smtClean="0"/>
              <a:t>2. </a:t>
            </a:r>
            <a:r>
              <a:rPr lang="en-US" sz="1100" dirty="0" err="1"/>
              <a:t>Strugarek</a:t>
            </a:r>
            <a:r>
              <a:rPr lang="en-US" sz="1100" dirty="0"/>
              <a:t>, A., Charbonneau, P., Joseph, R. &amp; </a:t>
            </a:r>
            <a:r>
              <a:rPr lang="en-US" sz="1100" dirty="0" err="1"/>
              <a:t>Pirot</a:t>
            </a:r>
            <a:r>
              <a:rPr lang="en-US" sz="1100" dirty="0"/>
              <a:t>, D</a:t>
            </a:r>
            <a:r>
              <a:rPr lang="en-US" sz="1100" dirty="0" smtClean="0"/>
              <a:t>.,</a:t>
            </a:r>
            <a:r>
              <a:rPr lang="fa-IR" sz="1100" dirty="0" smtClean="0"/>
              <a:t> </a:t>
            </a:r>
            <a:r>
              <a:rPr lang="en-US" sz="1100" dirty="0"/>
              <a:t>2014, </a:t>
            </a:r>
            <a:r>
              <a:rPr lang="en-US" sz="1100" dirty="0" err="1"/>
              <a:t>SoPh</a:t>
            </a:r>
            <a:r>
              <a:rPr lang="en-US" sz="1100" dirty="0"/>
              <a:t>, 289, 2993</a:t>
            </a:r>
          </a:p>
        </p:txBody>
      </p:sp>
      <p:cxnSp>
        <p:nvCxnSpPr>
          <p:cNvPr id="40" name="Straight Connector 39"/>
          <p:cNvCxnSpPr/>
          <p:nvPr/>
        </p:nvCxnSpPr>
        <p:spPr>
          <a:xfrm>
            <a:off x="108520" y="6309320"/>
            <a:ext cx="3959424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6" name="Title 3"/>
          <p:cNvSpPr txBox="1">
            <a:spLocks/>
          </p:cNvSpPr>
          <p:nvPr/>
        </p:nvSpPr>
        <p:spPr>
          <a:xfrm>
            <a:off x="36512" y="-13394"/>
            <a:ext cx="9144000" cy="922114"/>
          </a:xfrm>
          <a:prstGeom prst="rect">
            <a:avLst/>
          </a:prstGeom>
        </p:spPr>
        <p:txBody>
          <a:bodyPr vert="horz" lIns="91440" tIns="45720" rIns="91440" bIns="45720" numCol="2" rtlCol="0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>
                    <a:lumMod val="65000"/>
                  </a:schemeClr>
                </a:solidFill>
              </a:rPr>
              <a:t>Solar </a:t>
            </a: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Flares </a:t>
            </a:r>
          </a:p>
          <a:p>
            <a:pPr marL="285750" indent="-285750" algn="l" rtl="0">
              <a:buFont typeface="Wingdings" pitchFamily="2" charset="2"/>
              <a:buChar char="Ø"/>
            </a:pPr>
            <a:r>
              <a:rPr lang="en-US" sz="1400" dirty="0"/>
              <a:t>Cellular Automaton Avalanche Models</a:t>
            </a:r>
          </a:p>
          <a:p>
            <a:pPr marL="285750" indent="-28575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>
                    <a:lumMod val="65000"/>
                  </a:schemeClr>
                </a:solidFill>
              </a:rPr>
              <a:t>The </a:t>
            </a: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Optimized Model</a:t>
            </a:r>
          </a:p>
          <a:p>
            <a:pPr marL="285750" indent="-285750" algn="l" rtl="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What is next ?</a:t>
            </a:r>
          </a:p>
          <a:p>
            <a:pPr algn="l" rtl="0">
              <a:lnSpc>
                <a:spcPct val="120000"/>
              </a:lnSpc>
            </a:pPr>
            <a:endParaRPr lang="fa-IR" sz="14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120" y="2996952"/>
            <a:ext cx="1495425" cy="514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82686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64</TotalTime>
  <Words>608</Words>
  <Application>Microsoft Office PowerPoint</Application>
  <PresentationFormat>On-screen Show (4:3)</PresentationFormat>
  <Paragraphs>106</Paragraphs>
  <Slides>16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8" baseType="lpstr">
      <vt:lpstr>Office Theme</vt:lpstr>
      <vt:lpstr>think-cell Slide</vt:lpstr>
      <vt:lpstr>An alternative cellular avalanche model based on maximum release of energy during solar flares</vt:lpstr>
      <vt:lpstr>Solar Flares </vt:lpstr>
      <vt:lpstr>PowerPoint Presentation</vt:lpstr>
      <vt:lpstr>Cellular Automaton Avalanche Models</vt:lpstr>
      <vt:lpstr>CA MODELS Develop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s 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 alternative cellular avalanche model based on maximum release of energy during solar flares</dc:title>
  <dc:creator>user</dc:creator>
  <cp:lastModifiedBy>user</cp:lastModifiedBy>
  <cp:revision>89</cp:revision>
  <dcterms:created xsi:type="dcterms:W3CDTF">2017-01-17T18:42:58Z</dcterms:created>
  <dcterms:modified xsi:type="dcterms:W3CDTF">2017-01-20T08:02:51Z</dcterms:modified>
</cp:coreProperties>
</file>